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3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20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  <p:sldMasterId id="2147483673" r:id="rId2"/>
    <p:sldMasterId id="2147483687" r:id="rId3"/>
    <p:sldMasterId id="2147483696" r:id="rId4"/>
  </p:sldMasterIdLst>
  <p:notesMasterIdLst>
    <p:notesMasterId r:id="rId43"/>
  </p:notesMasterIdLst>
  <p:sldIdLst>
    <p:sldId id="1722" r:id="rId5"/>
    <p:sldId id="4642" r:id="rId6"/>
    <p:sldId id="1731" r:id="rId7"/>
    <p:sldId id="1635" r:id="rId8"/>
    <p:sldId id="2260" r:id="rId9"/>
    <p:sldId id="2261" r:id="rId10"/>
    <p:sldId id="4730" r:id="rId11"/>
    <p:sldId id="4630" r:id="rId12"/>
    <p:sldId id="4705" r:id="rId13"/>
    <p:sldId id="1726" r:id="rId14"/>
    <p:sldId id="4627" r:id="rId15"/>
    <p:sldId id="1728" r:id="rId16"/>
    <p:sldId id="4761" r:id="rId17"/>
    <p:sldId id="4762" r:id="rId18"/>
    <p:sldId id="2265" r:id="rId19"/>
    <p:sldId id="2263" r:id="rId20"/>
    <p:sldId id="4671" r:id="rId21"/>
    <p:sldId id="2272" r:id="rId22"/>
    <p:sldId id="2274" r:id="rId23"/>
    <p:sldId id="2276" r:id="rId24"/>
    <p:sldId id="4643" r:id="rId25"/>
    <p:sldId id="4764" r:id="rId26"/>
    <p:sldId id="4765" r:id="rId27"/>
    <p:sldId id="4766" r:id="rId28"/>
    <p:sldId id="4767" r:id="rId29"/>
    <p:sldId id="4768" r:id="rId30"/>
    <p:sldId id="4769" r:id="rId31"/>
    <p:sldId id="4770" r:id="rId32"/>
    <p:sldId id="4771" r:id="rId33"/>
    <p:sldId id="4772" r:id="rId34"/>
    <p:sldId id="1171" r:id="rId35"/>
    <p:sldId id="1483" r:id="rId36"/>
    <p:sldId id="2388" r:id="rId37"/>
    <p:sldId id="4694" r:id="rId38"/>
    <p:sldId id="4695" r:id="rId39"/>
    <p:sldId id="4589" r:id="rId40"/>
    <p:sldId id="1480" r:id="rId41"/>
    <p:sldId id="4696" r:id="rId42"/>
  </p:sldIdLst>
  <p:sldSz cx="12192000" cy="6858000"/>
  <p:notesSz cx="6858000" cy="9144000"/>
  <p:embeddedFontLst>
    <p:embeddedFont>
      <p:font typeface="Calibri" panose="020F0502020204030204" pitchFamily="34" charset="0"/>
      <p:regular r:id="rId44"/>
      <p:bold r:id="rId45"/>
      <p:italic r:id="rId46"/>
      <p:boldItalic r:id="rId47"/>
    </p:embeddedFont>
    <p:embeddedFont>
      <p:font typeface="Calibri Light" panose="020F0302020204030204" pitchFamily="34" charset="0"/>
      <p:regular r:id="rId48"/>
      <p:italic r:id="rId49"/>
    </p:embeddedFont>
  </p:embeddedFontLst>
  <p:custDataLst>
    <p:tags r:id="rId50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FF00FF"/>
    <a:srgbClr val="00FF00"/>
    <a:srgbClr val="0000FF"/>
    <a:srgbClr val="000000"/>
    <a:srgbClr val="F3D9DC"/>
    <a:srgbClr val="EFCCCF"/>
    <a:srgbClr val="FFFFFF"/>
    <a:srgbClr val="F7E7E9"/>
    <a:srgbClr val="B0C2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96" autoAdjust="0"/>
    <p:restoredTop sz="96327" autoAdjust="0"/>
  </p:normalViewPr>
  <p:slideViewPr>
    <p:cSldViewPr snapToGrid="0">
      <p:cViewPr varScale="1">
        <p:scale>
          <a:sx n="104" d="100"/>
          <a:sy n="104" d="100"/>
        </p:scale>
        <p:origin x="294" y="108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197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font" Target="fonts/font4.fntdata"/><Relationship Id="rId50" Type="http://schemas.openxmlformats.org/officeDocument/2006/relationships/tags" Target="tags/tag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font" Target="fonts/font2.fntdata"/><Relationship Id="rId53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font" Target="fonts/font1.fntdata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notesMaster" Target="notesMasters/notesMaster1.xml"/><Relationship Id="rId48" Type="http://schemas.openxmlformats.org/officeDocument/2006/relationships/font" Target="fonts/font5.fntdata"/><Relationship Id="rId8" Type="http://schemas.openxmlformats.org/officeDocument/2006/relationships/slide" Target="slides/slide4.xml"/><Relationship Id="rId51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font" Target="fonts/font3.fntdata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font" Target="fonts/font6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76661183243453179"/>
          <c:h val="0.8702638048354625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ZP celkem</c:v>
                </c:pt>
              </c:strCache>
            </c:strRef>
          </c:tx>
          <c:spPr>
            <a:ln w="28575" cap="rnd">
              <a:solidFill>
                <a:srgbClr val="000000"/>
              </a:solidFill>
              <a:round/>
            </a:ln>
            <a:effectLst/>
          </c:spPr>
          <c:marker>
            <c:symbol val="none"/>
          </c:marker>
          <c:cat>
            <c:strRef>
              <c:f>List1!$J$1:$OE$1</c:f>
              <c:strCache>
                <c:ptCount val="386"/>
                <c:pt idx="0">
                  <c:v>28.XII.20</c:v>
                </c:pt>
                <c:pt idx="1">
                  <c:v>29.XII.20</c:v>
                </c:pt>
                <c:pt idx="2">
                  <c:v>30.XII.20</c:v>
                </c:pt>
                <c:pt idx="3">
                  <c:v>31.XII.20</c:v>
                </c:pt>
                <c:pt idx="4">
                  <c:v>1.I.21</c:v>
                </c:pt>
                <c:pt idx="5">
                  <c:v>2.I.21</c:v>
                </c:pt>
                <c:pt idx="6">
                  <c:v>3.I.21</c:v>
                </c:pt>
                <c:pt idx="7">
                  <c:v>4.I.21</c:v>
                </c:pt>
                <c:pt idx="8">
                  <c:v>5.I.21</c:v>
                </c:pt>
                <c:pt idx="9">
                  <c:v>6.I.21</c:v>
                </c:pt>
                <c:pt idx="10">
                  <c:v>7.I.21</c:v>
                </c:pt>
                <c:pt idx="11">
                  <c:v>8.I.21</c:v>
                </c:pt>
                <c:pt idx="12">
                  <c:v>9.I.21</c:v>
                </c:pt>
                <c:pt idx="13">
                  <c:v>10.I.21</c:v>
                </c:pt>
                <c:pt idx="14">
                  <c:v>11.I.21</c:v>
                </c:pt>
                <c:pt idx="15">
                  <c:v>12.I.21</c:v>
                </c:pt>
                <c:pt idx="16">
                  <c:v>13.I.21</c:v>
                </c:pt>
                <c:pt idx="17">
                  <c:v>14.I.21</c:v>
                </c:pt>
                <c:pt idx="18">
                  <c:v>15.I.21</c:v>
                </c:pt>
                <c:pt idx="19">
                  <c:v>16.I.21</c:v>
                </c:pt>
                <c:pt idx="20">
                  <c:v>17.I.21</c:v>
                </c:pt>
                <c:pt idx="21">
                  <c:v>18.I.21</c:v>
                </c:pt>
                <c:pt idx="22">
                  <c:v>19.I.21</c:v>
                </c:pt>
                <c:pt idx="23">
                  <c:v>20.I.21</c:v>
                </c:pt>
                <c:pt idx="24">
                  <c:v>21.I.21</c:v>
                </c:pt>
                <c:pt idx="25">
                  <c:v>22.I.21</c:v>
                </c:pt>
                <c:pt idx="26">
                  <c:v>23.I.21</c:v>
                </c:pt>
                <c:pt idx="27">
                  <c:v>24.I.21</c:v>
                </c:pt>
                <c:pt idx="28">
                  <c:v>25.I.21</c:v>
                </c:pt>
                <c:pt idx="29">
                  <c:v>26.I.21</c:v>
                </c:pt>
                <c:pt idx="30">
                  <c:v>27.I.21</c:v>
                </c:pt>
                <c:pt idx="31">
                  <c:v>28.I.21</c:v>
                </c:pt>
                <c:pt idx="32">
                  <c:v>29.I.21</c:v>
                </c:pt>
                <c:pt idx="33">
                  <c:v>30.I.21</c:v>
                </c:pt>
                <c:pt idx="34">
                  <c:v>31.I.21</c:v>
                </c:pt>
                <c:pt idx="35">
                  <c:v>1.II.21</c:v>
                </c:pt>
                <c:pt idx="36">
                  <c:v>2.II.21</c:v>
                </c:pt>
                <c:pt idx="37">
                  <c:v>3.II.21</c:v>
                </c:pt>
                <c:pt idx="38">
                  <c:v>4.II.21</c:v>
                </c:pt>
                <c:pt idx="39">
                  <c:v>5.II.21</c:v>
                </c:pt>
                <c:pt idx="40">
                  <c:v>6.II.21</c:v>
                </c:pt>
                <c:pt idx="41">
                  <c:v>7.II.21</c:v>
                </c:pt>
                <c:pt idx="42">
                  <c:v>8.II.21</c:v>
                </c:pt>
                <c:pt idx="43">
                  <c:v>9.II.21</c:v>
                </c:pt>
                <c:pt idx="44">
                  <c:v>10.II.21</c:v>
                </c:pt>
                <c:pt idx="45">
                  <c:v>11.II.21</c:v>
                </c:pt>
                <c:pt idx="46">
                  <c:v>12.II.21</c:v>
                </c:pt>
                <c:pt idx="47">
                  <c:v>13.II.21</c:v>
                </c:pt>
                <c:pt idx="48">
                  <c:v>14.II.21</c:v>
                </c:pt>
                <c:pt idx="49">
                  <c:v>15.II.21</c:v>
                </c:pt>
                <c:pt idx="50">
                  <c:v>16.II.21</c:v>
                </c:pt>
                <c:pt idx="51">
                  <c:v>17.II.21</c:v>
                </c:pt>
                <c:pt idx="52">
                  <c:v>18.II.21</c:v>
                </c:pt>
                <c:pt idx="53">
                  <c:v>19.II.21</c:v>
                </c:pt>
                <c:pt idx="54">
                  <c:v>20.II.21</c:v>
                </c:pt>
                <c:pt idx="55">
                  <c:v>21.II.21</c:v>
                </c:pt>
                <c:pt idx="56">
                  <c:v>22.II.21</c:v>
                </c:pt>
                <c:pt idx="57">
                  <c:v>23.II.21</c:v>
                </c:pt>
                <c:pt idx="58">
                  <c:v>24.II.21</c:v>
                </c:pt>
                <c:pt idx="59">
                  <c:v>25.II.21</c:v>
                </c:pt>
                <c:pt idx="60">
                  <c:v>26.II.21</c:v>
                </c:pt>
                <c:pt idx="61">
                  <c:v>27.II.21</c:v>
                </c:pt>
                <c:pt idx="62">
                  <c:v>28.II.21</c:v>
                </c:pt>
                <c:pt idx="63">
                  <c:v>1.III.21</c:v>
                </c:pt>
                <c:pt idx="64">
                  <c:v>2.III.21</c:v>
                </c:pt>
                <c:pt idx="65">
                  <c:v>3.III.21</c:v>
                </c:pt>
                <c:pt idx="66">
                  <c:v>4.III.21</c:v>
                </c:pt>
                <c:pt idx="67">
                  <c:v>5.III.21</c:v>
                </c:pt>
                <c:pt idx="68">
                  <c:v>6.III.21</c:v>
                </c:pt>
                <c:pt idx="69">
                  <c:v>7.III.21</c:v>
                </c:pt>
                <c:pt idx="70">
                  <c:v>8.III.21</c:v>
                </c:pt>
                <c:pt idx="71">
                  <c:v>9.III.21</c:v>
                </c:pt>
                <c:pt idx="72">
                  <c:v>10.III.21</c:v>
                </c:pt>
                <c:pt idx="73">
                  <c:v>11.III.21</c:v>
                </c:pt>
                <c:pt idx="74">
                  <c:v>12.III.21</c:v>
                </c:pt>
                <c:pt idx="75">
                  <c:v>13.III.21</c:v>
                </c:pt>
                <c:pt idx="76">
                  <c:v>14.III.21</c:v>
                </c:pt>
                <c:pt idx="77">
                  <c:v>15.III.21</c:v>
                </c:pt>
                <c:pt idx="78">
                  <c:v>16.III.21</c:v>
                </c:pt>
                <c:pt idx="79">
                  <c:v>17.III.21</c:v>
                </c:pt>
                <c:pt idx="80">
                  <c:v>18.III.21</c:v>
                </c:pt>
                <c:pt idx="81">
                  <c:v>19.III.21</c:v>
                </c:pt>
                <c:pt idx="82">
                  <c:v>20.III.21</c:v>
                </c:pt>
                <c:pt idx="83">
                  <c:v>21.III.21</c:v>
                </c:pt>
                <c:pt idx="84">
                  <c:v>22.III.21</c:v>
                </c:pt>
                <c:pt idx="85">
                  <c:v>23.III.21</c:v>
                </c:pt>
                <c:pt idx="86">
                  <c:v>24.III.21</c:v>
                </c:pt>
                <c:pt idx="87">
                  <c:v>25.III.21</c:v>
                </c:pt>
                <c:pt idx="88">
                  <c:v>26.III.21</c:v>
                </c:pt>
                <c:pt idx="89">
                  <c:v>27.III.21</c:v>
                </c:pt>
                <c:pt idx="90">
                  <c:v>28.III.21</c:v>
                </c:pt>
                <c:pt idx="91">
                  <c:v>29.III.21</c:v>
                </c:pt>
                <c:pt idx="92">
                  <c:v>30.III.21</c:v>
                </c:pt>
                <c:pt idx="93">
                  <c:v>31.III.21</c:v>
                </c:pt>
                <c:pt idx="94">
                  <c:v>1.IV.21</c:v>
                </c:pt>
                <c:pt idx="95">
                  <c:v>2.IV.21</c:v>
                </c:pt>
                <c:pt idx="96">
                  <c:v>3.IV.21</c:v>
                </c:pt>
                <c:pt idx="97">
                  <c:v>4.IV.21</c:v>
                </c:pt>
                <c:pt idx="98">
                  <c:v>5.IV.21</c:v>
                </c:pt>
                <c:pt idx="99">
                  <c:v>6.IV.21</c:v>
                </c:pt>
                <c:pt idx="100">
                  <c:v>7.IV.21</c:v>
                </c:pt>
                <c:pt idx="101">
                  <c:v>8.IV.21</c:v>
                </c:pt>
                <c:pt idx="102">
                  <c:v>9.IV.21</c:v>
                </c:pt>
                <c:pt idx="103">
                  <c:v>10.IV.21</c:v>
                </c:pt>
                <c:pt idx="104">
                  <c:v>11.IV.21</c:v>
                </c:pt>
                <c:pt idx="105">
                  <c:v>12.IV.21</c:v>
                </c:pt>
                <c:pt idx="106">
                  <c:v>13.IV.21</c:v>
                </c:pt>
                <c:pt idx="107">
                  <c:v>14.IV.21</c:v>
                </c:pt>
                <c:pt idx="108">
                  <c:v>15.IV.21</c:v>
                </c:pt>
                <c:pt idx="109">
                  <c:v>16.IV.21</c:v>
                </c:pt>
                <c:pt idx="110">
                  <c:v>17.IV.21</c:v>
                </c:pt>
                <c:pt idx="111">
                  <c:v>18.IV.21</c:v>
                </c:pt>
                <c:pt idx="112">
                  <c:v>19.IV.21</c:v>
                </c:pt>
                <c:pt idx="113">
                  <c:v>20.IV.21</c:v>
                </c:pt>
                <c:pt idx="114">
                  <c:v>21.IV.21</c:v>
                </c:pt>
                <c:pt idx="115">
                  <c:v>22.IV.21</c:v>
                </c:pt>
                <c:pt idx="116">
                  <c:v>23.IV.21</c:v>
                </c:pt>
                <c:pt idx="117">
                  <c:v>24.IV.21</c:v>
                </c:pt>
                <c:pt idx="118">
                  <c:v>25.IV.21</c:v>
                </c:pt>
                <c:pt idx="119">
                  <c:v>26.IV.21</c:v>
                </c:pt>
                <c:pt idx="120">
                  <c:v>27.IV.21</c:v>
                </c:pt>
                <c:pt idx="121">
                  <c:v>28.IV.21</c:v>
                </c:pt>
                <c:pt idx="122">
                  <c:v>29.IV.21</c:v>
                </c:pt>
                <c:pt idx="123">
                  <c:v>30.IV.21</c:v>
                </c:pt>
                <c:pt idx="124">
                  <c:v>1.V.21</c:v>
                </c:pt>
                <c:pt idx="125">
                  <c:v>2.V.21</c:v>
                </c:pt>
                <c:pt idx="126">
                  <c:v>3.V.21</c:v>
                </c:pt>
                <c:pt idx="127">
                  <c:v>4.V.21</c:v>
                </c:pt>
                <c:pt idx="128">
                  <c:v>5.V.21</c:v>
                </c:pt>
                <c:pt idx="129">
                  <c:v>6.V.21</c:v>
                </c:pt>
                <c:pt idx="130">
                  <c:v>7.V.21</c:v>
                </c:pt>
                <c:pt idx="131">
                  <c:v>8.V.21</c:v>
                </c:pt>
                <c:pt idx="132">
                  <c:v>9.V.21</c:v>
                </c:pt>
                <c:pt idx="133">
                  <c:v>10.V.21</c:v>
                </c:pt>
                <c:pt idx="134">
                  <c:v>11.V.21</c:v>
                </c:pt>
                <c:pt idx="135">
                  <c:v>12.V.21</c:v>
                </c:pt>
                <c:pt idx="136">
                  <c:v>13.V.21</c:v>
                </c:pt>
                <c:pt idx="137">
                  <c:v>14.V.21</c:v>
                </c:pt>
                <c:pt idx="138">
                  <c:v>15.V.21</c:v>
                </c:pt>
                <c:pt idx="139">
                  <c:v>16.V.21</c:v>
                </c:pt>
                <c:pt idx="140">
                  <c:v>17.V.21</c:v>
                </c:pt>
                <c:pt idx="141">
                  <c:v>18.V.21</c:v>
                </c:pt>
                <c:pt idx="142">
                  <c:v>19.V.21</c:v>
                </c:pt>
                <c:pt idx="143">
                  <c:v>20.V.21</c:v>
                </c:pt>
                <c:pt idx="144">
                  <c:v>21.V.21</c:v>
                </c:pt>
                <c:pt idx="145">
                  <c:v>22.V.21</c:v>
                </c:pt>
                <c:pt idx="146">
                  <c:v>23.V.21</c:v>
                </c:pt>
                <c:pt idx="147">
                  <c:v>24.V.21</c:v>
                </c:pt>
                <c:pt idx="148">
                  <c:v>25.V.21</c:v>
                </c:pt>
                <c:pt idx="149">
                  <c:v>26.V.21</c:v>
                </c:pt>
                <c:pt idx="150">
                  <c:v>27.V.21</c:v>
                </c:pt>
                <c:pt idx="151">
                  <c:v>28.V.21</c:v>
                </c:pt>
                <c:pt idx="152">
                  <c:v>29.V.21</c:v>
                </c:pt>
                <c:pt idx="153">
                  <c:v>30.V.21</c:v>
                </c:pt>
                <c:pt idx="154">
                  <c:v>31.V.21</c:v>
                </c:pt>
                <c:pt idx="155">
                  <c:v>1.VI.21</c:v>
                </c:pt>
                <c:pt idx="156">
                  <c:v>2.VI.21</c:v>
                </c:pt>
                <c:pt idx="157">
                  <c:v>3.VI.21</c:v>
                </c:pt>
                <c:pt idx="158">
                  <c:v>4.VI.21</c:v>
                </c:pt>
                <c:pt idx="159">
                  <c:v>5.VI.21</c:v>
                </c:pt>
                <c:pt idx="160">
                  <c:v>6.VI.21</c:v>
                </c:pt>
                <c:pt idx="161">
                  <c:v>7.VI.21</c:v>
                </c:pt>
                <c:pt idx="162">
                  <c:v>8.VI.21</c:v>
                </c:pt>
                <c:pt idx="163">
                  <c:v>9.VI.21</c:v>
                </c:pt>
                <c:pt idx="164">
                  <c:v>10.VI.21</c:v>
                </c:pt>
                <c:pt idx="165">
                  <c:v>11.VI.21</c:v>
                </c:pt>
                <c:pt idx="166">
                  <c:v>12.VI.21</c:v>
                </c:pt>
                <c:pt idx="167">
                  <c:v>13.VI.21</c:v>
                </c:pt>
                <c:pt idx="168">
                  <c:v>14.VI.21</c:v>
                </c:pt>
                <c:pt idx="169">
                  <c:v>15.VI.21</c:v>
                </c:pt>
                <c:pt idx="170">
                  <c:v>16.VI.21</c:v>
                </c:pt>
                <c:pt idx="171">
                  <c:v>17.VI.21</c:v>
                </c:pt>
                <c:pt idx="172">
                  <c:v>18.VI.21</c:v>
                </c:pt>
                <c:pt idx="173">
                  <c:v>19.VI.21</c:v>
                </c:pt>
                <c:pt idx="174">
                  <c:v>20.VI.21</c:v>
                </c:pt>
                <c:pt idx="175">
                  <c:v>21.VI.21</c:v>
                </c:pt>
                <c:pt idx="176">
                  <c:v>22.VI.21</c:v>
                </c:pt>
                <c:pt idx="177">
                  <c:v>23.VI.21</c:v>
                </c:pt>
                <c:pt idx="178">
                  <c:v>24.VI.21</c:v>
                </c:pt>
                <c:pt idx="179">
                  <c:v>25.VI.21</c:v>
                </c:pt>
                <c:pt idx="180">
                  <c:v>26.VI.21</c:v>
                </c:pt>
                <c:pt idx="181">
                  <c:v>27.VI.21</c:v>
                </c:pt>
                <c:pt idx="182">
                  <c:v>28.VI.21</c:v>
                </c:pt>
                <c:pt idx="183">
                  <c:v>29.VI.21</c:v>
                </c:pt>
                <c:pt idx="184">
                  <c:v>30.VI.21</c:v>
                </c:pt>
                <c:pt idx="185">
                  <c:v>1.VII.21</c:v>
                </c:pt>
                <c:pt idx="186">
                  <c:v>2.VII.21</c:v>
                </c:pt>
                <c:pt idx="187">
                  <c:v>3.VII.21</c:v>
                </c:pt>
                <c:pt idx="188">
                  <c:v>4.VII.21</c:v>
                </c:pt>
                <c:pt idx="189">
                  <c:v>5.VII.21</c:v>
                </c:pt>
                <c:pt idx="190">
                  <c:v>6.VII.21</c:v>
                </c:pt>
                <c:pt idx="191">
                  <c:v>7.VII.21</c:v>
                </c:pt>
                <c:pt idx="192">
                  <c:v>8.VII.21</c:v>
                </c:pt>
                <c:pt idx="193">
                  <c:v>9.VII.21</c:v>
                </c:pt>
                <c:pt idx="194">
                  <c:v>10.VII.21</c:v>
                </c:pt>
                <c:pt idx="195">
                  <c:v>11.VII.21</c:v>
                </c:pt>
                <c:pt idx="196">
                  <c:v>12.VII.21</c:v>
                </c:pt>
                <c:pt idx="197">
                  <c:v>13.VII.21</c:v>
                </c:pt>
                <c:pt idx="198">
                  <c:v>14.VII.21</c:v>
                </c:pt>
                <c:pt idx="199">
                  <c:v>15.VII.21</c:v>
                </c:pt>
                <c:pt idx="200">
                  <c:v>16.VII.21</c:v>
                </c:pt>
                <c:pt idx="201">
                  <c:v>17.VII.21</c:v>
                </c:pt>
                <c:pt idx="202">
                  <c:v>18.VII.21</c:v>
                </c:pt>
                <c:pt idx="203">
                  <c:v>19.VII.21</c:v>
                </c:pt>
                <c:pt idx="204">
                  <c:v>20.VII.21</c:v>
                </c:pt>
                <c:pt idx="205">
                  <c:v>21.VII.21</c:v>
                </c:pt>
                <c:pt idx="206">
                  <c:v>22.VII.21</c:v>
                </c:pt>
                <c:pt idx="207">
                  <c:v>23.VII.21</c:v>
                </c:pt>
                <c:pt idx="208">
                  <c:v>24.VII.21</c:v>
                </c:pt>
                <c:pt idx="209">
                  <c:v>25.VII.21</c:v>
                </c:pt>
                <c:pt idx="210">
                  <c:v>26.VII.21</c:v>
                </c:pt>
                <c:pt idx="211">
                  <c:v>27.VII.21</c:v>
                </c:pt>
                <c:pt idx="212">
                  <c:v>28.VII.21</c:v>
                </c:pt>
                <c:pt idx="213">
                  <c:v>29.VII.21</c:v>
                </c:pt>
                <c:pt idx="214">
                  <c:v>30.VII.21</c:v>
                </c:pt>
                <c:pt idx="215">
                  <c:v>31.VII.21</c:v>
                </c:pt>
                <c:pt idx="216">
                  <c:v>1.VIII.21</c:v>
                </c:pt>
                <c:pt idx="217">
                  <c:v>2.VIII.21</c:v>
                </c:pt>
                <c:pt idx="218">
                  <c:v>3.VIII.21</c:v>
                </c:pt>
                <c:pt idx="219">
                  <c:v>4.VIII.21</c:v>
                </c:pt>
                <c:pt idx="220">
                  <c:v>5.VIII.21</c:v>
                </c:pt>
                <c:pt idx="221">
                  <c:v>6.VIII.21</c:v>
                </c:pt>
                <c:pt idx="222">
                  <c:v>7.VIII.21</c:v>
                </c:pt>
                <c:pt idx="223">
                  <c:v>8.VIII.21</c:v>
                </c:pt>
                <c:pt idx="224">
                  <c:v>9.VIII.21</c:v>
                </c:pt>
                <c:pt idx="225">
                  <c:v>10.VIII.21</c:v>
                </c:pt>
                <c:pt idx="226">
                  <c:v>11.VIII.21</c:v>
                </c:pt>
                <c:pt idx="227">
                  <c:v>12.VIII.21</c:v>
                </c:pt>
                <c:pt idx="228">
                  <c:v>13.VIII.21</c:v>
                </c:pt>
                <c:pt idx="229">
                  <c:v>14.VIII.21</c:v>
                </c:pt>
                <c:pt idx="230">
                  <c:v>15.VIII.21</c:v>
                </c:pt>
                <c:pt idx="231">
                  <c:v>16.VIII.21</c:v>
                </c:pt>
                <c:pt idx="232">
                  <c:v>17.VIII.21</c:v>
                </c:pt>
                <c:pt idx="233">
                  <c:v>18.VIII.21</c:v>
                </c:pt>
                <c:pt idx="234">
                  <c:v>19.VIII.21</c:v>
                </c:pt>
                <c:pt idx="235">
                  <c:v>20.VIII.21</c:v>
                </c:pt>
                <c:pt idx="236">
                  <c:v>21.VIII.21</c:v>
                </c:pt>
                <c:pt idx="237">
                  <c:v>22.VIII.21</c:v>
                </c:pt>
                <c:pt idx="238">
                  <c:v>23.VIII.21</c:v>
                </c:pt>
                <c:pt idx="239">
                  <c:v>24.VIII.21</c:v>
                </c:pt>
                <c:pt idx="240">
                  <c:v>25.VIII.21</c:v>
                </c:pt>
                <c:pt idx="241">
                  <c:v>26.VIII.21</c:v>
                </c:pt>
                <c:pt idx="242">
                  <c:v>27.VIII.21</c:v>
                </c:pt>
                <c:pt idx="243">
                  <c:v>28.VIII.21</c:v>
                </c:pt>
                <c:pt idx="244">
                  <c:v>29.VIII.21</c:v>
                </c:pt>
                <c:pt idx="245">
                  <c:v>30.VIII.21</c:v>
                </c:pt>
                <c:pt idx="246">
                  <c:v>31.VIII.21</c:v>
                </c:pt>
                <c:pt idx="247">
                  <c:v>1.IX.21</c:v>
                </c:pt>
                <c:pt idx="248">
                  <c:v>2.IX.21</c:v>
                </c:pt>
                <c:pt idx="249">
                  <c:v>3.IX.21</c:v>
                </c:pt>
                <c:pt idx="250">
                  <c:v>4.IX.21</c:v>
                </c:pt>
                <c:pt idx="251">
                  <c:v>5.IX.21</c:v>
                </c:pt>
                <c:pt idx="252">
                  <c:v>6.IX.21</c:v>
                </c:pt>
                <c:pt idx="253">
                  <c:v>7.IX.21</c:v>
                </c:pt>
                <c:pt idx="254">
                  <c:v>8.IX.21</c:v>
                </c:pt>
                <c:pt idx="255">
                  <c:v>9.IX.21</c:v>
                </c:pt>
                <c:pt idx="256">
                  <c:v>10.IX.21</c:v>
                </c:pt>
                <c:pt idx="257">
                  <c:v>11.IX.21</c:v>
                </c:pt>
                <c:pt idx="258">
                  <c:v>12.IX.21</c:v>
                </c:pt>
                <c:pt idx="259">
                  <c:v>13.IX.21</c:v>
                </c:pt>
                <c:pt idx="260">
                  <c:v>14.IX.21</c:v>
                </c:pt>
                <c:pt idx="261">
                  <c:v>15.IX.21</c:v>
                </c:pt>
                <c:pt idx="262">
                  <c:v>16.IX.21</c:v>
                </c:pt>
                <c:pt idx="263">
                  <c:v>17.IX.21</c:v>
                </c:pt>
                <c:pt idx="264">
                  <c:v>18.IX.21</c:v>
                </c:pt>
                <c:pt idx="265">
                  <c:v>19.IX.21</c:v>
                </c:pt>
                <c:pt idx="266">
                  <c:v>20.IX.21</c:v>
                </c:pt>
                <c:pt idx="267">
                  <c:v>21.IX.21</c:v>
                </c:pt>
                <c:pt idx="268">
                  <c:v>22.IX.21</c:v>
                </c:pt>
                <c:pt idx="269">
                  <c:v>23.IX.21</c:v>
                </c:pt>
                <c:pt idx="270">
                  <c:v>24.IX.21</c:v>
                </c:pt>
                <c:pt idx="271">
                  <c:v>25.IX.21</c:v>
                </c:pt>
                <c:pt idx="272">
                  <c:v>26.IX.21</c:v>
                </c:pt>
                <c:pt idx="273">
                  <c:v>27.IX.21</c:v>
                </c:pt>
                <c:pt idx="274">
                  <c:v>28.IX.21</c:v>
                </c:pt>
                <c:pt idx="275">
                  <c:v>29.IX.21</c:v>
                </c:pt>
                <c:pt idx="276">
                  <c:v>30.IX.21</c:v>
                </c:pt>
                <c:pt idx="277">
                  <c:v>1.X.21</c:v>
                </c:pt>
                <c:pt idx="278">
                  <c:v>2.X.21</c:v>
                </c:pt>
                <c:pt idx="279">
                  <c:v>3.X.21</c:v>
                </c:pt>
                <c:pt idx="280">
                  <c:v>4.X.21</c:v>
                </c:pt>
                <c:pt idx="281">
                  <c:v>5.X.21</c:v>
                </c:pt>
                <c:pt idx="282">
                  <c:v>6.X.21</c:v>
                </c:pt>
                <c:pt idx="283">
                  <c:v>7.X.21</c:v>
                </c:pt>
                <c:pt idx="284">
                  <c:v>8.X.21</c:v>
                </c:pt>
                <c:pt idx="285">
                  <c:v>9.X.21</c:v>
                </c:pt>
                <c:pt idx="286">
                  <c:v>10.X.21</c:v>
                </c:pt>
                <c:pt idx="287">
                  <c:v>11.X.21</c:v>
                </c:pt>
                <c:pt idx="288">
                  <c:v>12.X.21</c:v>
                </c:pt>
                <c:pt idx="289">
                  <c:v>13.X.21</c:v>
                </c:pt>
                <c:pt idx="290">
                  <c:v>14.X.21</c:v>
                </c:pt>
                <c:pt idx="291">
                  <c:v>15.X.21</c:v>
                </c:pt>
                <c:pt idx="292">
                  <c:v>16.X.21</c:v>
                </c:pt>
                <c:pt idx="293">
                  <c:v>17.X.21</c:v>
                </c:pt>
                <c:pt idx="294">
                  <c:v>18.X.21</c:v>
                </c:pt>
                <c:pt idx="295">
                  <c:v>19.X.21</c:v>
                </c:pt>
                <c:pt idx="296">
                  <c:v>20.X.21</c:v>
                </c:pt>
                <c:pt idx="297">
                  <c:v>21.X.21</c:v>
                </c:pt>
                <c:pt idx="298">
                  <c:v>22.X.21</c:v>
                </c:pt>
                <c:pt idx="299">
                  <c:v>23.X.21</c:v>
                </c:pt>
                <c:pt idx="300">
                  <c:v>24.X.21</c:v>
                </c:pt>
                <c:pt idx="301">
                  <c:v>25.X.21</c:v>
                </c:pt>
                <c:pt idx="302">
                  <c:v>26.X.21</c:v>
                </c:pt>
                <c:pt idx="303">
                  <c:v>27.X.21</c:v>
                </c:pt>
                <c:pt idx="304">
                  <c:v>28.X.21</c:v>
                </c:pt>
                <c:pt idx="305">
                  <c:v>29.X.21</c:v>
                </c:pt>
                <c:pt idx="306">
                  <c:v>30.X.21</c:v>
                </c:pt>
                <c:pt idx="307">
                  <c:v>31.X.21</c:v>
                </c:pt>
                <c:pt idx="308">
                  <c:v>1.XI.21</c:v>
                </c:pt>
                <c:pt idx="309">
                  <c:v>2.XI.21</c:v>
                </c:pt>
                <c:pt idx="310">
                  <c:v>3.XI.21</c:v>
                </c:pt>
                <c:pt idx="311">
                  <c:v>4.XI.21</c:v>
                </c:pt>
                <c:pt idx="312">
                  <c:v>5.XI.21</c:v>
                </c:pt>
                <c:pt idx="313">
                  <c:v>6.XI.21</c:v>
                </c:pt>
                <c:pt idx="314">
                  <c:v>7.XI.21</c:v>
                </c:pt>
                <c:pt idx="315">
                  <c:v>8.XI.21</c:v>
                </c:pt>
                <c:pt idx="316">
                  <c:v>9.XI.21</c:v>
                </c:pt>
                <c:pt idx="317">
                  <c:v>10.XI.21</c:v>
                </c:pt>
                <c:pt idx="318">
                  <c:v>11.XI.21</c:v>
                </c:pt>
                <c:pt idx="319">
                  <c:v>12.XI.21</c:v>
                </c:pt>
                <c:pt idx="320">
                  <c:v>13.XI.21</c:v>
                </c:pt>
                <c:pt idx="321">
                  <c:v>14.XI.21</c:v>
                </c:pt>
                <c:pt idx="322">
                  <c:v>15.XI.21</c:v>
                </c:pt>
                <c:pt idx="323">
                  <c:v>16.XI.21</c:v>
                </c:pt>
                <c:pt idx="324">
                  <c:v>17.XI.21</c:v>
                </c:pt>
                <c:pt idx="325">
                  <c:v>18.XI.21</c:v>
                </c:pt>
                <c:pt idx="326">
                  <c:v>19.XI.21</c:v>
                </c:pt>
                <c:pt idx="327">
                  <c:v>20.XI.21</c:v>
                </c:pt>
                <c:pt idx="328">
                  <c:v>21.XI.21</c:v>
                </c:pt>
                <c:pt idx="329">
                  <c:v>22.XI.21</c:v>
                </c:pt>
                <c:pt idx="330">
                  <c:v>23.XI.21</c:v>
                </c:pt>
                <c:pt idx="331">
                  <c:v>24.XI.21</c:v>
                </c:pt>
                <c:pt idx="332">
                  <c:v>25.XI.21</c:v>
                </c:pt>
                <c:pt idx="333">
                  <c:v>26.XI.21</c:v>
                </c:pt>
                <c:pt idx="334">
                  <c:v>27.XI.21</c:v>
                </c:pt>
                <c:pt idx="335">
                  <c:v>28.XI.21</c:v>
                </c:pt>
                <c:pt idx="336">
                  <c:v>29.XI.21</c:v>
                </c:pt>
                <c:pt idx="337">
                  <c:v>30.XI.21</c:v>
                </c:pt>
                <c:pt idx="338">
                  <c:v>1.XII.21</c:v>
                </c:pt>
                <c:pt idx="339">
                  <c:v>2.XII.21</c:v>
                </c:pt>
                <c:pt idx="340">
                  <c:v>3.XII.21</c:v>
                </c:pt>
                <c:pt idx="341">
                  <c:v>4.XII.21</c:v>
                </c:pt>
                <c:pt idx="342">
                  <c:v>5.XII.21</c:v>
                </c:pt>
                <c:pt idx="343">
                  <c:v>6.XII.21</c:v>
                </c:pt>
                <c:pt idx="344">
                  <c:v>7.XII.21</c:v>
                </c:pt>
                <c:pt idx="345">
                  <c:v>8.XII.21</c:v>
                </c:pt>
                <c:pt idx="346">
                  <c:v>9.XII.21</c:v>
                </c:pt>
                <c:pt idx="347">
                  <c:v>10.XII.21</c:v>
                </c:pt>
                <c:pt idx="348">
                  <c:v>11.XII.21</c:v>
                </c:pt>
                <c:pt idx="349">
                  <c:v>12.XII.21</c:v>
                </c:pt>
                <c:pt idx="350">
                  <c:v>13.XII.21</c:v>
                </c:pt>
                <c:pt idx="351">
                  <c:v>14.XII.21</c:v>
                </c:pt>
                <c:pt idx="352">
                  <c:v>15.XII.21</c:v>
                </c:pt>
                <c:pt idx="353">
                  <c:v>16.XII.21</c:v>
                </c:pt>
                <c:pt idx="354">
                  <c:v>17.XII.21</c:v>
                </c:pt>
                <c:pt idx="355">
                  <c:v>18.XII.21</c:v>
                </c:pt>
                <c:pt idx="356">
                  <c:v>19.XII.21</c:v>
                </c:pt>
                <c:pt idx="357">
                  <c:v>20.XII.21</c:v>
                </c:pt>
                <c:pt idx="358">
                  <c:v>21.XII.21</c:v>
                </c:pt>
                <c:pt idx="359">
                  <c:v>22.XII.21</c:v>
                </c:pt>
                <c:pt idx="360">
                  <c:v>23.XII.21</c:v>
                </c:pt>
                <c:pt idx="361">
                  <c:v>27.XII.21</c:v>
                </c:pt>
                <c:pt idx="362">
                  <c:v>28.XII.21</c:v>
                </c:pt>
                <c:pt idx="363">
                  <c:v>29.XII.21</c:v>
                </c:pt>
                <c:pt idx="364">
                  <c:v>30.XII.21</c:v>
                </c:pt>
                <c:pt idx="365">
                  <c:v>31.XII.21</c:v>
                </c:pt>
                <c:pt idx="366">
                  <c:v>2.I.22</c:v>
                </c:pt>
                <c:pt idx="367">
                  <c:v>3.I.22</c:v>
                </c:pt>
                <c:pt idx="368">
                  <c:v>4.I.22</c:v>
                </c:pt>
                <c:pt idx="369">
                  <c:v>5.I.22</c:v>
                </c:pt>
                <c:pt idx="370">
                  <c:v>6.I.22</c:v>
                </c:pt>
                <c:pt idx="371">
                  <c:v>7.I.22</c:v>
                </c:pt>
                <c:pt idx="372">
                  <c:v>8.I.22</c:v>
                </c:pt>
                <c:pt idx="373">
                  <c:v>9.I.22</c:v>
                </c:pt>
                <c:pt idx="374">
                  <c:v>10.I.22</c:v>
                </c:pt>
                <c:pt idx="375">
                  <c:v>11.I.22</c:v>
                </c:pt>
                <c:pt idx="376">
                  <c:v>12.I.22</c:v>
                </c:pt>
                <c:pt idx="377">
                  <c:v>13.I.22</c:v>
                </c:pt>
                <c:pt idx="378">
                  <c:v>14.I.22</c:v>
                </c:pt>
                <c:pt idx="379">
                  <c:v>15.I.22</c:v>
                </c:pt>
                <c:pt idx="380">
                  <c:v>16.I.22</c:v>
                </c:pt>
                <c:pt idx="381">
                  <c:v>17.I.22</c:v>
                </c:pt>
                <c:pt idx="382">
                  <c:v>18.I.22</c:v>
                </c:pt>
                <c:pt idx="383">
                  <c:v>19.I.22</c:v>
                </c:pt>
                <c:pt idx="384">
                  <c:v>20.I.22</c:v>
                </c:pt>
                <c:pt idx="385">
                  <c:v>21.I.22</c:v>
                </c:pt>
              </c:strCache>
            </c:strRef>
          </c:cat>
          <c:val>
            <c:numRef>
              <c:f>List1!$J$2:$OE$2</c:f>
              <c:numCache>
                <c:formatCode>General</c:formatCode>
                <c:ptCount val="386"/>
                <c:pt idx="0">
                  <c:v>2944</c:v>
                </c:pt>
                <c:pt idx="1">
                  <c:v>5611</c:v>
                </c:pt>
                <c:pt idx="2">
                  <c:v>8316</c:v>
                </c:pt>
                <c:pt idx="3">
                  <c:v>9208</c:v>
                </c:pt>
                <c:pt idx="4">
                  <c:v>9445</c:v>
                </c:pt>
                <c:pt idx="5">
                  <c:v>10606</c:v>
                </c:pt>
                <c:pt idx="6">
                  <c:v>11447</c:v>
                </c:pt>
                <c:pt idx="7">
                  <c:v>14616</c:v>
                </c:pt>
                <c:pt idx="8">
                  <c:v>18536</c:v>
                </c:pt>
                <c:pt idx="9">
                  <c:v>23464</c:v>
                </c:pt>
                <c:pt idx="10">
                  <c:v>29296</c:v>
                </c:pt>
                <c:pt idx="11">
                  <c:v>36085</c:v>
                </c:pt>
                <c:pt idx="12">
                  <c:v>37248</c:v>
                </c:pt>
                <c:pt idx="13">
                  <c:v>38206</c:v>
                </c:pt>
                <c:pt idx="14">
                  <c:v>44621</c:v>
                </c:pt>
                <c:pt idx="15">
                  <c:v>52043</c:v>
                </c:pt>
                <c:pt idx="16">
                  <c:v>58653</c:v>
                </c:pt>
                <c:pt idx="17">
                  <c:v>65634</c:v>
                </c:pt>
                <c:pt idx="18">
                  <c:v>71831</c:v>
                </c:pt>
                <c:pt idx="19">
                  <c:v>72767</c:v>
                </c:pt>
                <c:pt idx="20">
                  <c:v>73315</c:v>
                </c:pt>
                <c:pt idx="21">
                  <c:v>78004</c:v>
                </c:pt>
                <c:pt idx="22">
                  <c:v>81806</c:v>
                </c:pt>
                <c:pt idx="23">
                  <c:v>85524</c:v>
                </c:pt>
                <c:pt idx="24">
                  <c:v>88917</c:v>
                </c:pt>
                <c:pt idx="25">
                  <c:v>91808</c:v>
                </c:pt>
                <c:pt idx="26">
                  <c:v>92198</c:v>
                </c:pt>
                <c:pt idx="27">
                  <c:v>92434</c:v>
                </c:pt>
                <c:pt idx="28">
                  <c:v>94041</c:v>
                </c:pt>
                <c:pt idx="29">
                  <c:v>95807</c:v>
                </c:pt>
                <c:pt idx="30">
                  <c:v>97257</c:v>
                </c:pt>
                <c:pt idx="31">
                  <c:v>98645</c:v>
                </c:pt>
                <c:pt idx="32">
                  <c:v>99925</c:v>
                </c:pt>
                <c:pt idx="33">
                  <c:v>99996</c:v>
                </c:pt>
                <c:pt idx="34">
                  <c:v>100067</c:v>
                </c:pt>
                <c:pt idx="35">
                  <c:v>100961</c:v>
                </c:pt>
                <c:pt idx="36">
                  <c:v>101830</c:v>
                </c:pt>
                <c:pt idx="37">
                  <c:v>102647</c:v>
                </c:pt>
                <c:pt idx="38">
                  <c:v>103357</c:v>
                </c:pt>
                <c:pt idx="39">
                  <c:v>104286</c:v>
                </c:pt>
                <c:pt idx="40">
                  <c:v>104337</c:v>
                </c:pt>
                <c:pt idx="41">
                  <c:v>104388</c:v>
                </c:pt>
                <c:pt idx="42">
                  <c:v>105030</c:v>
                </c:pt>
                <c:pt idx="43">
                  <c:v>105685</c:v>
                </c:pt>
                <c:pt idx="44">
                  <c:v>106550</c:v>
                </c:pt>
                <c:pt idx="45">
                  <c:v>107606</c:v>
                </c:pt>
                <c:pt idx="46">
                  <c:v>108809</c:v>
                </c:pt>
                <c:pt idx="47">
                  <c:v>109194</c:v>
                </c:pt>
                <c:pt idx="48">
                  <c:v>109378</c:v>
                </c:pt>
                <c:pt idx="49">
                  <c:v>110702</c:v>
                </c:pt>
                <c:pt idx="50">
                  <c:v>111994</c:v>
                </c:pt>
                <c:pt idx="51">
                  <c:v>113370</c:v>
                </c:pt>
                <c:pt idx="52">
                  <c:v>114935</c:v>
                </c:pt>
                <c:pt idx="53">
                  <c:v>116792</c:v>
                </c:pt>
                <c:pt idx="54">
                  <c:v>117252</c:v>
                </c:pt>
                <c:pt idx="55">
                  <c:v>117415</c:v>
                </c:pt>
                <c:pt idx="56">
                  <c:v>119008</c:v>
                </c:pt>
                <c:pt idx="57">
                  <c:v>121307</c:v>
                </c:pt>
                <c:pt idx="58">
                  <c:v>123805</c:v>
                </c:pt>
                <c:pt idx="59">
                  <c:v>126837</c:v>
                </c:pt>
                <c:pt idx="60">
                  <c:v>129444</c:v>
                </c:pt>
                <c:pt idx="61">
                  <c:v>129752</c:v>
                </c:pt>
                <c:pt idx="62">
                  <c:v>129973</c:v>
                </c:pt>
                <c:pt idx="63">
                  <c:v>132520</c:v>
                </c:pt>
                <c:pt idx="64">
                  <c:v>135278</c:v>
                </c:pt>
                <c:pt idx="65">
                  <c:v>137945</c:v>
                </c:pt>
                <c:pt idx="66">
                  <c:v>140400</c:v>
                </c:pt>
                <c:pt idx="67">
                  <c:v>143369</c:v>
                </c:pt>
                <c:pt idx="68">
                  <c:v>144075</c:v>
                </c:pt>
                <c:pt idx="69">
                  <c:v>144589</c:v>
                </c:pt>
                <c:pt idx="70">
                  <c:v>146536</c:v>
                </c:pt>
                <c:pt idx="71">
                  <c:v>148684</c:v>
                </c:pt>
                <c:pt idx="72">
                  <c:v>150933</c:v>
                </c:pt>
                <c:pt idx="73">
                  <c:v>153936</c:v>
                </c:pt>
                <c:pt idx="74">
                  <c:v>156558</c:v>
                </c:pt>
                <c:pt idx="75">
                  <c:v>157217</c:v>
                </c:pt>
                <c:pt idx="76">
                  <c:v>157786</c:v>
                </c:pt>
                <c:pt idx="77">
                  <c:v>159376</c:v>
                </c:pt>
                <c:pt idx="78">
                  <c:v>161708</c:v>
                </c:pt>
                <c:pt idx="79">
                  <c:v>164025</c:v>
                </c:pt>
                <c:pt idx="80">
                  <c:v>166053</c:v>
                </c:pt>
                <c:pt idx="81">
                  <c:v>168316</c:v>
                </c:pt>
                <c:pt idx="82">
                  <c:v>169191</c:v>
                </c:pt>
                <c:pt idx="83">
                  <c:v>169639</c:v>
                </c:pt>
                <c:pt idx="84">
                  <c:v>170795</c:v>
                </c:pt>
                <c:pt idx="85">
                  <c:v>172034</c:v>
                </c:pt>
                <c:pt idx="86">
                  <c:v>173104</c:v>
                </c:pt>
                <c:pt idx="87">
                  <c:v>174403</c:v>
                </c:pt>
                <c:pt idx="88">
                  <c:v>175781</c:v>
                </c:pt>
                <c:pt idx="89">
                  <c:v>176156</c:v>
                </c:pt>
                <c:pt idx="90">
                  <c:v>176501</c:v>
                </c:pt>
                <c:pt idx="91">
                  <c:v>177285</c:v>
                </c:pt>
                <c:pt idx="92">
                  <c:v>178313</c:v>
                </c:pt>
                <c:pt idx="93">
                  <c:v>179435</c:v>
                </c:pt>
                <c:pt idx="94">
                  <c:v>180539</c:v>
                </c:pt>
                <c:pt idx="95">
                  <c:v>180807</c:v>
                </c:pt>
                <c:pt idx="96">
                  <c:v>180927</c:v>
                </c:pt>
                <c:pt idx="97">
                  <c:v>181043</c:v>
                </c:pt>
                <c:pt idx="98">
                  <c:v>181115</c:v>
                </c:pt>
                <c:pt idx="99">
                  <c:v>181681</c:v>
                </c:pt>
                <c:pt idx="100">
                  <c:v>182355</c:v>
                </c:pt>
                <c:pt idx="101">
                  <c:v>183603</c:v>
                </c:pt>
                <c:pt idx="102">
                  <c:v>184880</c:v>
                </c:pt>
                <c:pt idx="103">
                  <c:v>185257</c:v>
                </c:pt>
                <c:pt idx="104">
                  <c:v>185507</c:v>
                </c:pt>
                <c:pt idx="105">
                  <c:v>186448</c:v>
                </c:pt>
                <c:pt idx="106">
                  <c:v>187262</c:v>
                </c:pt>
                <c:pt idx="107">
                  <c:v>188207</c:v>
                </c:pt>
                <c:pt idx="108">
                  <c:v>189575</c:v>
                </c:pt>
                <c:pt idx="109">
                  <c:v>191125</c:v>
                </c:pt>
                <c:pt idx="110">
                  <c:v>191547</c:v>
                </c:pt>
                <c:pt idx="111">
                  <c:v>191987</c:v>
                </c:pt>
                <c:pt idx="112">
                  <c:v>193092</c:v>
                </c:pt>
                <c:pt idx="113">
                  <c:v>194141</c:v>
                </c:pt>
                <c:pt idx="114">
                  <c:v>195434</c:v>
                </c:pt>
                <c:pt idx="115">
                  <c:v>196907</c:v>
                </c:pt>
                <c:pt idx="116">
                  <c:v>198423</c:v>
                </c:pt>
                <c:pt idx="117">
                  <c:v>198864</c:v>
                </c:pt>
                <c:pt idx="118">
                  <c:v>199238</c:v>
                </c:pt>
                <c:pt idx="119">
                  <c:v>200439</c:v>
                </c:pt>
                <c:pt idx="120">
                  <c:v>201531</c:v>
                </c:pt>
                <c:pt idx="121">
                  <c:v>202923</c:v>
                </c:pt>
                <c:pt idx="122">
                  <c:v>204399</c:v>
                </c:pt>
                <c:pt idx="123">
                  <c:v>205804</c:v>
                </c:pt>
                <c:pt idx="124">
                  <c:v>206141</c:v>
                </c:pt>
                <c:pt idx="125">
                  <c:v>206480</c:v>
                </c:pt>
                <c:pt idx="126">
                  <c:v>207566</c:v>
                </c:pt>
                <c:pt idx="127">
                  <c:v>208671</c:v>
                </c:pt>
                <c:pt idx="128">
                  <c:v>209820</c:v>
                </c:pt>
                <c:pt idx="129">
                  <c:v>211016</c:v>
                </c:pt>
                <c:pt idx="130">
                  <c:v>212323</c:v>
                </c:pt>
                <c:pt idx="131">
                  <c:v>212825</c:v>
                </c:pt>
                <c:pt idx="132">
                  <c:v>213136</c:v>
                </c:pt>
                <c:pt idx="133">
                  <c:v>214111</c:v>
                </c:pt>
                <c:pt idx="134">
                  <c:v>215139</c:v>
                </c:pt>
                <c:pt idx="135">
                  <c:v>216179</c:v>
                </c:pt>
                <c:pt idx="136">
                  <c:v>217323</c:v>
                </c:pt>
                <c:pt idx="137">
                  <c:v>218329</c:v>
                </c:pt>
                <c:pt idx="138">
                  <c:v>218772</c:v>
                </c:pt>
                <c:pt idx="139">
                  <c:v>219060</c:v>
                </c:pt>
                <c:pt idx="140">
                  <c:v>219849</c:v>
                </c:pt>
                <c:pt idx="141">
                  <c:v>220732</c:v>
                </c:pt>
                <c:pt idx="142">
                  <c:v>221643</c:v>
                </c:pt>
                <c:pt idx="143">
                  <c:v>222580</c:v>
                </c:pt>
                <c:pt idx="144">
                  <c:v>223508</c:v>
                </c:pt>
                <c:pt idx="145">
                  <c:v>223862</c:v>
                </c:pt>
                <c:pt idx="146">
                  <c:v>224091</c:v>
                </c:pt>
                <c:pt idx="147">
                  <c:v>224644</c:v>
                </c:pt>
                <c:pt idx="148">
                  <c:v>225274</c:v>
                </c:pt>
                <c:pt idx="149">
                  <c:v>226130</c:v>
                </c:pt>
                <c:pt idx="150">
                  <c:v>226916</c:v>
                </c:pt>
                <c:pt idx="151">
                  <c:v>227744</c:v>
                </c:pt>
                <c:pt idx="152">
                  <c:v>228112</c:v>
                </c:pt>
                <c:pt idx="153">
                  <c:v>228404</c:v>
                </c:pt>
                <c:pt idx="154">
                  <c:v>229098</c:v>
                </c:pt>
                <c:pt idx="155">
                  <c:v>229822</c:v>
                </c:pt>
                <c:pt idx="156">
                  <c:v>230712</c:v>
                </c:pt>
                <c:pt idx="157">
                  <c:v>231553</c:v>
                </c:pt>
                <c:pt idx="158">
                  <c:v>232443</c:v>
                </c:pt>
                <c:pt idx="159">
                  <c:v>232869</c:v>
                </c:pt>
                <c:pt idx="160">
                  <c:v>233277</c:v>
                </c:pt>
                <c:pt idx="161">
                  <c:v>234174</c:v>
                </c:pt>
                <c:pt idx="162">
                  <c:v>235160</c:v>
                </c:pt>
                <c:pt idx="163">
                  <c:v>236086</c:v>
                </c:pt>
                <c:pt idx="164">
                  <c:v>236967</c:v>
                </c:pt>
                <c:pt idx="165">
                  <c:v>237827</c:v>
                </c:pt>
                <c:pt idx="166">
                  <c:v>238355</c:v>
                </c:pt>
                <c:pt idx="167">
                  <c:v>238730</c:v>
                </c:pt>
                <c:pt idx="168">
                  <c:v>239401</c:v>
                </c:pt>
                <c:pt idx="169">
                  <c:v>240166</c:v>
                </c:pt>
                <c:pt idx="170">
                  <c:v>240872</c:v>
                </c:pt>
                <c:pt idx="171">
                  <c:v>241590</c:v>
                </c:pt>
                <c:pt idx="172">
                  <c:v>242267</c:v>
                </c:pt>
                <c:pt idx="173">
                  <c:v>242602</c:v>
                </c:pt>
                <c:pt idx="174">
                  <c:v>242863</c:v>
                </c:pt>
                <c:pt idx="175">
                  <c:v>243378</c:v>
                </c:pt>
                <c:pt idx="176">
                  <c:v>243968</c:v>
                </c:pt>
                <c:pt idx="177">
                  <c:v>244469</c:v>
                </c:pt>
                <c:pt idx="178">
                  <c:v>244972</c:v>
                </c:pt>
                <c:pt idx="179">
                  <c:v>245475</c:v>
                </c:pt>
                <c:pt idx="180">
                  <c:v>245732</c:v>
                </c:pt>
                <c:pt idx="181">
                  <c:v>245925</c:v>
                </c:pt>
                <c:pt idx="182">
                  <c:v>246423</c:v>
                </c:pt>
                <c:pt idx="183">
                  <c:v>246886</c:v>
                </c:pt>
                <c:pt idx="184">
                  <c:v>247369</c:v>
                </c:pt>
                <c:pt idx="185">
                  <c:v>247734</c:v>
                </c:pt>
                <c:pt idx="186">
                  <c:v>248220</c:v>
                </c:pt>
                <c:pt idx="187">
                  <c:v>248318</c:v>
                </c:pt>
                <c:pt idx="188">
                  <c:v>248435</c:v>
                </c:pt>
                <c:pt idx="189">
                  <c:v>248548</c:v>
                </c:pt>
                <c:pt idx="190">
                  <c:v>248649</c:v>
                </c:pt>
                <c:pt idx="191">
                  <c:v>249062</c:v>
                </c:pt>
                <c:pt idx="192">
                  <c:v>249513</c:v>
                </c:pt>
                <c:pt idx="193">
                  <c:v>249959</c:v>
                </c:pt>
                <c:pt idx="194">
                  <c:v>250127</c:v>
                </c:pt>
                <c:pt idx="195">
                  <c:v>250248</c:v>
                </c:pt>
                <c:pt idx="196">
                  <c:v>250694</c:v>
                </c:pt>
                <c:pt idx="197">
                  <c:v>251142</c:v>
                </c:pt>
                <c:pt idx="198">
                  <c:v>251632</c:v>
                </c:pt>
                <c:pt idx="199">
                  <c:v>252131</c:v>
                </c:pt>
                <c:pt idx="200">
                  <c:v>252621</c:v>
                </c:pt>
                <c:pt idx="201">
                  <c:v>252803</c:v>
                </c:pt>
                <c:pt idx="202">
                  <c:v>252950</c:v>
                </c:pt>
                <c:pt idx="203">
                  <c:v>253373</c:v>
                </c:pt>
                <c:pt idx="204">
                  <c:v>253729</c:v>
                </c:pt>
                <c:pt idx="205">
                  <c:v>254198</c:v>
                </c:pt>
                <c:pt idx="206">
                  <c:v>254595</c:v>
                </c:pt>
                <c:pt idx="207">
                  <c:v>254988</c:v>
                </c:pt>
                <c:pt idx="208">
                  <c:v>255100</c:v>
                </c:pt>
                <c:pt idx="209">
                  <c:v>255190</c:v>
                </c:pt>
                <c:pt idx="210">
                  <c:v>255579</c:v>
                </c:pt>
                <c:pt idx="211">
                  <c:v>256001</c:v>
                </c:pt>
                <c:pt idx="212">
                  <c:v>256364</c:v>
                </c:pt>
                <c:pt idx="213">
                  <c:v>256701</c:v>
                </c:pt>
                <c:pt idx="214">
                  <c:v>257123</c:v>
                </c:pt>
                <c:pt idx="215">
                  <c:v>257245</c:v>
                </c:pt>
                <c:pt idx="216">
                  <c:v>257348</c:v>
                </c:pt>
                <c:pt idx="217">
                  <c:v>257631</c:v>
                </c:pt>
                <c:pt idx="218">
                  <c:v>257899</c:v>
                </c:pt>
                <c:pt idx="219">
                  <c:v>258213</c:v>
                </c:pt>
                <c:pt idx="220">
                  <c:v>258479</c:v>
                </c:pt>
                <c:pt idx="221">
                  <c:v>258760</c:v>
                </c:pt>
                <c:pt idx="222">
                  <c:v>258833</c:v>
                </c:pt>
                <c:pt idx="223">
                  <c:v>258897</c:v>
                </c:pt>
                <c:pt idx="224">
                  <c:v>259108</c:v>
                </c:pt>
                <c:pt idx="225">
                  <c:v>259318</c:v>
                </c:pt>
                <c:pt idx="226">
                  <c:v>259481</c:v>
                </c:pt>
                <c:pt idx="227">
                  <c:v>259715</c:v>
                </c:pt>
                <c:pt idx="228">
                  <c:v>259907</c:v>
                </c:pt>
                <c:pt idx="229">
                  <c:v>259964</c:v>
                </c:pt>
                <c:pt idx="230">
                  <c:v>260010</c:v>
                </c:pt>
                <c:pt idx="231">
                  <c:v>260192</c:v>
                </c:pt>
                <c:pt idx="232">
                  <c:v>260374</c:v>
                </c:pt>
                <c:pt idx="233">
                  <c:v>260542</c:v>
                </c:pt>
                <c:pt idx="234">
                  <c:v>260706</c:v>
                </c:pt>
                <c:pt idx="235">
                  <c:v>260953</c:v>
                </c:pt>
                <c:pt idx="236">
                  <c:v>260995</c:v>
                </c:pt>
                <c:pt idx="237">
                  <c:v>261028</c:v>
                </c:pt>
                <c:pt idx="238">
                  <c:v>261230</c:v>
                </c:pt>
                <c:pt idx="239">
                  <c:v>261421</c:v>
                </c:pt>
                <c:pt idx="240">
                  <c:v>261589</c:v>
                </c:pt>
                <c:pt idx="241">
                  <c:v>261751</c:v>
                </c:pt>
                <c:pt idx="242">
                  <c:v>261970</c:v>
                </c:pt>
                <c:pt idx="243">
                  <c:v>262014</c:v>
                </c:pt>
                <c:pt idx="244">
                  <c:v>262047</c:v>
                </c:pt>
                <c:pt idx="245">
                  <c:v>262220</c:v>
                </c:pt>
                <c:pt idx="246">
                  <c:v>262385</c:v>
                </c:pt>
                <c:pt idx="247">
                  <c:v>262510</c:v>
                </c:pt>
                <c:pt idx="248">
                  <c:v>262684</c:v>
                </c:pt>
                <c:pt idx="249">
                  <c:v>262879</c:v>
                </c:pt>
                <c:pt idx="250">
                  <c:v>262914</c:v>
                </c:pt>
                <c:pt idx="251">
                  <c:v>262947</c:v>
                </c:pt>
                <c:pt idx="252">
                  <c:v>263083</c:v>
                </c:pt>
                <c:pt idx="253">
                  <c:v>263173</c:v>
                </c:pt>
                <c:pt idx="254">
                  <c:v>263297</c:v>
                </c:pt>
                <c:pt idx="255">
                  <c:v>263440</c:v>
                </c:pt>
                <c:pt idx="256">
                  <c:v>263586</c:v>
                </c:pt>
                <c:pt idx="257">
                  <c:v>263621</c:v>
                </c:pt>
                <c:pt idx="258">
                  <c:v>263644</c:v>
                </c:pt>
                <c:pt idx="259">
                  <c:v>263755</c:v>
                </c:pt>
                <c:pt idx="260">
                  <c:v>263886</c:v>
                </c:pt>
                <c:pt idx="261">
                  <c:v>263992</c:v>
                </c:pt>
                <c:pt idx="262">
                  <c:v>264113</c:v>
                </c:pt>
                <c:pt idx="263">
                  <c:v>264277</c:v>
                </c:pt>
                <c:pt idx="264">
                  <c:v>264318</c:v>
                </c:pt>
                <c:pt idx="265">
                  <c:v>264331</c:v>
                </c:pt>
                <c:pt idx="266">
                  <c:v>264433</c:v>
                </c:pt>
                <c:pt idx="267">
                  <c:v>264537</c:v>
                </c:pt>
                <c:pt idx="268">
                  <c:v>264633</c:v>
                </c:pt>
                <c:pt idx="269">
                  <c:v>264768</c:v>
                </c:pt>
                <c:pt idx="270">
                  <c:v>264935</c:v>
                </c:pt>
                <c:pt idx="271">
                  <c:v>264967</c:v>
                </c:pt>
                <c:pt idx="272">
                  <c:v>264977</c:v>
                </c:pt>
                <c:pt idx="273">
                  <c:v>265074</c:v>
                </c:pt>
                <c:pt idx="274">
                  <c:v>265082</c:v>
                </c:pt>
                <c:pt idx="275">
                  <c:v>265167</c:v>
                </c:pt>
                <c:pt idx="276">
                  <c:v>265267</c:v>
                </c:pt>
                <c:pt idx="277">
                  <c:v>265359</c:v>
                </c:pt>
                <c:pt idx="278">
                  <c:v>265380</c:v>
                </c:pt>
                <c:pt idx="279">
                  <c:v>265394</c:v>
                </c:pt>
                <c:pt idx="280">
                  <c:v>265462</c:v>
                </c:pt>
                <c:pt idx="281">
                  <c:v>265545</c:v>
                </c:pt>
                <c:pt idx="282">
                  <c:v>265644</c:v>
                </c:pt>
                <c:pt idx="283">
                  <c:v>265714</c:v>
                </c:pt>
                <c:pt idx="284">
                  <c:v>265826</c:v>
                </c:pt>
                <c:pt idx="285">
                  <c:v>265851</c:v>
                </c:pt>
                <c:pt idx="286">
                  <c:v>265863</c:v>
                </c:pt>
                <c:pt idx="287">
                  <c:v>265940</c:v>
                </c:pt>
                <c:pt idx="288">
                  <c:v>266025</c:v>
                </c:pt>
                <c:pt idx="289">
                  <c:v>266106</c:v>
                </c:pt>
                <c:pt idx="290">
                  <c:v>266174</c:v>
                </c:pt>
                <c:pt idx="291">
                  <c:v>266294</c:v>
                </c:pt>
                <c:pt idx="292">
                  <c:v>266325</c:v>
                </c:pt>
                <c:pt idx="293">
                  <c:v>266355</c:v>
                </c:pt>
                <c:pt idx="294">
                  <c:v>266486</c:v>
                </c:pt>
                <c:pt idx="295">
                  <c:v>266581</c:v>
                </c:pt>
                <c:pt idx="296">
                  <c:v>266713</c:v>
                </c:pt>
                <c:pt idx="297">
                  <c:v>266952</c:v>
                </c:pt>
                <c:pt idx="298">
                  <c:v>267259</c:v>
                </c:pt>
                <c:pt idx="299">
                  <c:v>267342</c:v>
                </c:pt>
                <c:pt idx="300">
                  <c:v>267406</c:v>
                </c:pt>
                <c:pt idx="301">
                  <c:v>267668</c:v>
                </c:pt>
                <c:pt idx="302">
                  <c:v>268030</c:v>
                </c:pt>
                <c:pt idx="303">
                  <c:v>268448</c:v>
                </c:pt>
                <c:pt idx="304">
                  <c:v>268530</c:v>
                </c:pt>
                <c:pt idx="305">
                  <c:v>268909</c:v>
                </c:pt>
                <c:pt idx="306">
                  <c:v>269017</c:v>
                </c:pt>
                <c:pt idx="307">
                  <c:v>269087</c:v>
                </c:pt>
                <c:pt idx="308">
                  <c:v>269504</c:v>
                </c:pt>
                <c:pt idx="309">
                  <c:v>269922</c:v>
                </c:pt>
                <c:pt idx="310">
                  <c:v>270339</c:v>
                </c:pt>
                <c:pt idx="311">
                  <c:v>270840</c:v>
                </c:pt>
                <c:pt idx="312">
                  <c:v>271401</c:v>
                </c:pt>
                <c:pt idx="313">
                  <c:v>271556</c:v>
                </c:pt>
                <c:pt idx="314">
                  <c:v>271653</c:v>
                </c:pt>
                <c:pt idx="315">
                  <c:v>272053</c:v>
                </c:pt>
                <c:pt idx="316">
                  <c:v>272393</c:v>
                </c:pt>
                <c:pt idx="317">
                  <c:v>272778</c:v>
                </c:pt>
                <c:pt idx="318">
                  <c:v>273178</c:v>
                </c:pt>
                <c:pt idx="319">
                  <c:v>273713</c:v>
                </c:pt>
                <c:pt idx="320">
                  <c:v>273837</c:v>
                </c:pt>
                <c:pt idx="321">
                  <c:v>273923</c:v>
                </c:pt>
                <c:pt idx="322">
                  <c:v>274343</c:v>
                </c:pt>
                <c:pt idx="323">
                  <c:v>274815</c:v>
                </c:pt>
                <c:pt idx="324">
                  <c:v>274919</c:v>
                </c:pt>
                <c:pt idx="325">
                  <c:v>275428</c:v>
                </c:pt>
                <c:pt idx="326">
                  <c:v>276051</c:v>
                </c:pt>
                <c:pt idx="327">
                  <c:v>276247</c:v>
                </c:pt>
                <c:pt idx="328">
                  <c:v>276389</c:v>
                </c:pt>
                <c:pt idx="329">
                  <c:v>276810</c:v>
                </c:pt>
                <c:pt idx="330">
                  <c:v>277231</c:v>
                </c:pt>
                <c:pt idx="331">
                  <c:v>277694</c:v>
                </c:pt>
                <c:pt idx="332">
                  <c:v>278172</c:v>
                </c:pt>
                <c:pt idx="333">
                  <c:v>278691</c:v>
                </c:pt>
                <c:pt idx="334">
                  <c:v>278841</c:v>
                </c:pt>
                <c:pt idx="335">
                  <c:v>278892</c:v>
                </c:pt>
                <c:pt idx="336">
                  <c:v>279242</c:v>
                </c:pt>
                <c:pt idx="337">
                  <c:v>279577</c:v>
                </c:pt>
                <c:pt idx="338">
                  <c:v>279927</c:v>
                </c:pt>
                <c:pt idx="339">
                  <c:v>280181</c:v>
                </c:pt>
                <c:pt idx="340">
                  <c:v>280445</c:v>
                </c:pt>
                <c:pt idx="341">
                  <c:v>280498</c:v>
                </c:pt>
                <c:pt idx="342">
                  <c:v>280519</c:v>
                </c:pt>
                <c:pt idx="343">
                  <c:v>280712</c:v>
                </c:pt>
                <c:pt idx="344">
                  <c:v>280890</c:v>
                </c:pt>
                <c:pt idx="345">
                  <c:v>281103</c:v>
                </c:pt>
                <c:pt idx="346">
                  <c:v>281271</c:v>
                </c:pt>
                <c:pt idx="347">
                  <c:v>281458</c:v>
                </c:pt>
                <c:pt idx="348">
                  <c:v>281495</c:v>
                </c:pt>
                <c:pt idx="349">
                  <c:v>281521</c:v>
                </c:pt>
                <c:pt idx="350">
                  <c:v>281697</c:v>
                </c:pt>
                <c:pt idx="351">
                  <c:v>281842</c:v>
                </c:pt>
                <c:pt idx="352">
                  <c:v>281980</c:v>
                </c:pt>
                <c:pt idx="353">
                  <c:v>282151</c:v>
                </c:pt>
                <c:pt idx="354">
                  <c:v>282342</c:v>
                </c:pt>
                <c:pt idx="355">
                  <c:v>282397</c:v>
                </c:pt>
                <c:pt idx="356">
                  <c:v>282411</c:v>
                </c:pt>
                <c:pt idx="357">
                  <c:v>282533</c:v>
                </c:pt>
                <c:pt idx="358">
                  <c:v>282639</c:v>
                </c:pt>
                <c:pt idx="359">
                  <c:v>282730</c:v>
                </c:pt>
                <c:pt idx="360">
                  <c:v>282762</c:v>
                </c:pt>
                <c:pt idx="361">
                  <c:v>282822</c:v>
                </c:pt>
                <c:pt idx="362">
                  <c:v>282891</c:v>
                </c:pt>
                <c:pt idx="363">
                  <c:v>282959</c:v>
                </c:pt>
                <c:pt idx="364">
                  <c:v>283032</c:v>
                </c:pt>
                <c:pt idx="365">
                  <c:v>283039</c:v>
                </c:pt>
                <c:pt idx="366">
                  <c:v>283047</c:v>
                </c:pt>
                <c:pt idx="367">
                  <c:v>283127</c:v>
                </c:pt>
                <c:pt idx="368">
                  <c:v>283209</c:v>
                </c:pt>
                <c:pt idx="369">
                  <c:v>283311</c:v>
                </c:pt>
                <c:pt idx="370">
                  <c:v>283426</c:v>
                </c:pt>
                <c:pt idx="371">
                  <c:v>283603</c:v>
                </c:pt>
                <c:pt idx="372">
                  <c:v>283626</c:v>
                </c:pt>
                <c:pt idx="373">
                  <c:v>283644</c:v>
                </c:pt>
                <c:pt idx="374">
                  <c:v>283729</c:v>
                </c:pt>
                <c:pt idx="375">
                  <c:v>283827</c:v>
                </c:pt>
                <c:pt idx="376">
                  <c:v>283934</c:v>
                </c:pt>
                <c:pt idx="377">
                  <c:v>284054</c:v>
                </c:pt>
                <c:pt idx="378">
                  <c:v>284209</c:v>
                </c:pt>
                <c:pt idx="379">
                  <c:v>284245</c:v>
                </c:pt>
                <c:pt idx="380">
                  <c:v>284261</c:v>
                </c:pt>
                <c:pt idx="381">
                  <c:v>284355</c:v>
                </c:pt>
                <c:pt idx="382">
                  <c:v>284464</c:v>
                </c:pt>
                <c:pt idx="383">
                  <c:v>284533</c:v>
                </c:pt>
                <c:pt idx="384">
                  <c:v>284592</c:v>
                </c:pt>
                <c:pt idx="385">
                  <c:v>2846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ry</c:v>
                </c:pt>
              </c:strCache>
            </c:strRef>
          </c:tx>
          <c:spPr>
            <a:ln w="28575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cat>
            <c:strRef>
              <c:f>List1!$J$1:$OE$1</c:f>
              <c:strCache>
                <c:ptCount val="386"/>
                <c:pt idx="0">
                  <c:v>28.XII.20</c:v>
                </c:pt>
                <c:pt idx="1">
                  <c:v>29.XII.20</c:v>
                </c:pt>
                <c:pt idx="2">
                  <c:v>30.XII.20</c:v>
                </c:pt>
                <c:pt idx="3">
                  <c:v>31.XII.20</c:v>
                </c:pt>
                <c:pt idx="4">
                  <c:v>1.I.21</c:v>
                </c:pt>
                <c:pt idx="5">
                  <c:v>2.I.21</c:v>
                </c:pt>
                <c:pt idx="6">
                  <c:v>3.I.21</c:v>
                </c:pt>
                <c:pt idx="7">
                  <c:v>4.I.21</c:v>
                </c:pt>
                <c:pt idx="8">
                  <c:v>5.I.21</c:v>
                </c:pt>
                <c:pt idx="9">
                  <c:v>6.I.21</c:v>
                </c:pt>
                <c:pt idx="10">
                  <c:v>7.I.21</c:v>
                </c:pt>
                <c:pt idx="11">
                  <c:v>8.I.21</c:v>
                </c:pt>
                <c:pt idx="12">
                  <c:v>9.I.21</c:v>
                </c:pt>
                <c:pt idx="13">
                  <c:v>10.I.21</c:v>
                </c:pt>
                <c:pt idx="14">
                  <c:v>11.I.21</c:v>
                </c:pt>
                <c:pt idx="15">
                  <c:v>12.I.21</c:v>
                </c:pt>
                <c:pt idx="16">
                  <c:v>13.I.21</c:v>
                </c:pt>
                <c:pt idx="17">
                  <c:v>14.I.21</c:v>
                </c:pt>
                <c:pt idx="18">
                  <c:v>15.I.21</c:v>
                </c:pt>
                <c:pt idx="19">
                  <c:v>16.I.21</c:v>
                </c:pt>
                <c:pt idx="20">
                  <c:v>17.I.21</c:v>
                </c:pt>
                <c:pt idx="21">
                  <c:v>18.I.21</c:v>
                </c:pt>
                <c:pt idx="22">
                  <c:v>19.I.21</c:v>
                </c:pt>
                <c:pt idx="23">
                  <c:v>20.I.21</c:v>
                </c:pt>
                <c:pt idx="24">
                  <c:v>21.I.21</c:v>
                </c:pt>
                <c:pt idx="25">
                  <c:v>22.I.21</c:v>
                </c:pt>
                <c:pt idx="26">
                  <c:v>23.I.21</c:v>
                </c:pt>
                <c:pt idx="27">
                  <c:v>24.I.21</c:v>
                </c:pt>
                <c:pt idx="28">
                  <c:v>25.I.21</c:v>
                </c:pt>
                <c:pt idx="29">
                  <c:v>26.I.21</c:v>
                </c:pt>
                <c:pt idx="30">
                  <c:v>27.I.21</c:v>
                </c:pt>
                <c:pt idx="31">
                  <c:v>28.I.21</c:v>
                </c:pt>
                <c:pt idx="32">
                  <c:v>29.I.21</c:v>
                </c:pt>
                <c:pt idx="33">
                  <c:v>30.I.21</c:v>
                </c:pt>
                <c:pt idx="34">
                  <c:v>31.I.21</c:v>
                </c:pt>
                <c:pt idx="35">
                  <c:v>1.II.21</c:v>
                </c:pt>
                <c:pt idx="36">
                  <c:v>2.II.21</c:v>
                </c:pt>
                <c:pt idx="37">
                  <c:v>3.II.21</c:v>
                </c:pt>
                <c:pt idx="38">
                  <c:v>4.II.21</c:v>
                </c:pt>
                <c:pt idx="39">
                  <c:v>5.II.21</c:v>
                </c:pt>
                <c:pt idx="40">
                  <c:v>6.II.21</c:v>
                </c:pt>
                <c:pt idx="41">
                  <c:v>7.II.21</c:v>
                </c:pt>
                <c:pt idx="42">
                  <c:v>8.II.21</c:v>
                </c:pt>
                <c:pt idx="43">
                  <c:v>9.II.21</c:v>
                </c:pt>
                <c:pt idx="44">
                  <c:v>10.II.21</c:v>
                </c:pt>
                <c:pt idx="45">
                  <c:v>11.II.21</c:v>
                </c:pt>
                <c:pt idx="46">
                  <c:v>12.II.21</c:v>
                </c:pt>
                <c:pt idx="47">
                  <c:v>13.II.21</c:v>
                </c:pt>
                <c:pt idx="48">
                  <c:v>14.II.21</c:v>
                </c:pt>
                <c:pt idx="49">
                  <c:v>15.II.21</c:v>
                </c:pt>
                <c:pt idx="50">
                  <c:v>16.II.21</c:v>
                </c:pt>
                <c:pt idx="51">
                  <c:v>17.II.21</c:v>
                </c:pt>
                <c:pt idx="52">
                  <c:v>18.II.21</c:v>
                </c:pt>
                <c:pt idx="53">
                  <c:v>19.II.21</c:v>
                </c:pt>
                <c:pt idx="54">
                  <c:v>20.II.21</c:v>
                </c:pt>
                <c:pt idx="55">
                  <c:v>21.II.21</c:v>
                </c:pt>
                <c:pt idx="56">
                  <c:v>22.II.21</c:v>
                </c:pt>
                <c:pt idx="57">
                  <c:v>23.II.21</c:v>
                </c:pt>
                <c:pt idx="58">
                  <c:v>24.II.21</c:v>
                </c:pt>
                <c:pt idx="59">
                  <c:v>25.II.21</c:v>
                </c:pt>
                <c:pt idx="60">
                  <c:v>26.II.21</c:v>
                </c:pt>
                <c:pt idx="61">
                  <c:v>27.II.21</c:v>
                </c:pt>
                <c:pt idx="62">
                  <c:v>28.II.21</c:v>
                </c:pt>
                <c:pt idx="63">
                  <c:v>1.III.21</c:v>
                </c:pt>
                <c:pt idx="64">
                  <c:v>2.III.21</c:v>
                </c:pt>
                <c:pt idx="65">
                  <c:v>3.III.21</c:v>
                </c:pt>
                <c:pt idx="66">
                  <c:v>4.III.21</c:v>
                </c:pt>
                <c:pt idx="67">
                  <c:v>5.III.21</c:v>
                </c:pt>
                <c:pt idx="68">
                  <c:v>6.III.21</c:v>
                </c:pt>
                <c:pt idx="69">
                  <c:v>7.III.21</c:v>
                </c:pt>
                <c:pt idx="70">
                  <c:v>8.III.21</c:v>
                </c:pt>
                <c:pt idx="71">
                  <c:v>9.III.21</c:v>
                </c:pt>
                <c:pt idx="72">
                  <c:v>10.III.21</c:v>
                </c:pt>
                <c:pt idx="73">
                  <c:v>11.III.21</c:v>
                </c:pt>
                <c:pt idx="74">
                  <c:v>12.III.21</c:v>
                </c:pt>
                <c:pt idx="75">
                  <c:v>13.III.21</c:v>
                </c:pt>
                <c:pt idx="76">
                  <c:v>14.III.21</c:v>
                </c:pt>
                <c:pt idx="77">
                  <c:v>15.III.21</c:v>
                </c:pt>
                <c:pt idx="78">
                  <c:v>16.III.21</c:v>
                </c:pt>
                <c:pt idx="79">
                  <c:v>17.III.21</c:v>
                </c:pt>
                <c:pt idx="80">
                  <c:v>18.III.21</c:v>
                </c:pt>
                <c:pt idx="81">
                  <c:v>19.III.21</c:v>
                </c:pt>
                <c:pt idx="82">
                  <c:v>20.III.21</c:v>
                </c:pt>
                <c:pt idx="83">
                  <c:v>21.III.21</c:v>
                </c:pt>
                <c:pt idx="84">
                  <c:v>22.III.21</c:v>
                </c:pt>
                <c:pt idx="85">
                  <c:v>23.III.21</c:v>
                </c:pt>
                <c:pt idx="86">
                  <c:v>24.III.21</c:v>
                </c:pt>
                <c:pt idx="87">
                  <c:v>25.III.21</c:v>
                </c:pt>
                <c:pt idx="88">
                  <c:v>26.III.21</c:v>
                </c:pt>
                <c:pt idx="89">
                  <c:v>27.III.21</c:v>
                </c:pt>
                <c:pt idx="90">
                  <c:v>28.III.21</c:v>
                </c:pt>
                <c:pt idx="91">
                  <c:v>29.III.21</c:v>
                </c:pt>
                <c:pt idx="92">
                  <c:v>30.III.21</c:v>
                </c:pt>
                <c:pt idx="93">
                  <c:v>31.III.21</c:v>
                </c:pt>
                <c:pt idx="94">
                  <c:v>1.IV.21</c:v>
                </c:pt>
                <c:pt idx="95">
                  <c:v>2.IV.21</c:v>
                </c:pt>
                <c:pt idx="96">
                  <c:v>3.IV.21</c:v>
                </c:pt>
                <c:pt idx="97">
                  <c:v>4.IV.21</c:v>
                </c:pt>
                <c:pt idx="98">
                  <c:v>5.IV.21</c:v>
                </c:pt>
                <c:pt idx="99">
                  <c:v>6.IV.21</c:v>
                </c:pt>
                <c:pt idx="100">
                  <c:v>7.IV.21</c:v>
                </c:pt>
                <c:pt idx="101">
                  <c:v>8.IV.21</c:v>
                </c:pt>
                <c:pt idx="102">
                  <c:v>9.IV.21</c:v>
                </c:pt>
                <c:pt idx="103">
                  <c:v>10.IV.21</c:v>
                </c:pt>
                <c:pt idx="104">
                  <c:v>11.IV.21</c:v>
                </c:pt>
                <c:pt idx="105">
                  <c:v>12.IV.21</c:v>
                </c:pt>
                <c:pt idx="106">
                  <c:v>13.IV.21</c:v>
                </c:pt>
                <c:pt idx="107">
                  <c:v>14.IV.21</c:v>
                </c:pt>
                <c:pt idx="108">
                  <c:v>15.IV.21</c:v>
                </c:pt>
                <c:pt idx="109">
                  <c:v>16.IV.21</c:v>
                </c:pt>
                <c:pt idx="110">
                  <c:v>17.IV.21</c:v>
                </c:pt>
                <c:pt idx="111">
                  <c:v>18.IV.21</c:v>
                </c:pt>
                <c:pt idx="112">
                  <c:v>19.IV.21</c:v>
                </c:pt>
                <c:pt idx="113">
                  <c:v>20.IV.21</c:v>
                </c:pt>
                <c:pt idx="114">
                  <c:v>21.IV.21</c:v>
                </c:pt>
                <c:pt idx="115">
                  <c:v>22.IV.21</c:v>
                </c:pt>
                <c:pt idx="116">
                  <c:v>23.IV.21</c:v>
                </c:pt>
                <c:pt idx="117">
                  <c:v>24.IV.21</c:v>
                </c:pt>
                <c:pt idx="118">
                  <c:v>25.IV.21</c:v>
                </c:pt>
                <c:pt idx="119">
                  <c:v>26.IV.21</c:v>
                </c:pt>
                <c:pt idx="120">
                  <c:v>27.IV.21</c:v>
                </c:pt>
                <c:pt idx="121">
                  <c:v>28.IV.21</c:v>
                </c:pt>
                <c:pt idx="122">
                  <c:v>29.IV.21</c:v>
                </c:pt>
                <c:pt idx="123">
                  <c:v>30.IV.21</c:v>
                </c:pt>
                <c:pt idx="124">
                  <c:v>1.V.21</c:v>
                </c:pt>
                <c:pt idx="125">
                  <c:v>2.V.21</c:v>
                </c:pt>
                <c:pt idx="126">
                  <c:v>3.V.21</c:v>
                </c:pt>
                <c:pt idx="127">
                  <c:v>4.V.21</c:v>
                </c:pt>
                <c:pt idx="128">
                  <c:v>5.V.21</c:v>
                </c:pt>
                <c:pt idx="129">
                  <c:v>6.V.21</c:v>
                </c:pt>
                <c:pt idx="130">
                  <c:v>7.V.21</c:v>
                </c:pt>
                <c:pt idx="131">
                  <c:v>8.V.21</c:v>
                </c:pt>
                <c:pt idx="132">
                  <c:v>9.V.21</c:v>
                </c:pt>
                <c:pt idx="133">
                  <c:v>10.V.21</c:v>
                </c:pt>
                <c:pt idx="134">
                  <c:v>11.V.21</c:v>
                </c:pt>
                <c:pt idx="135">
                  <c:v>12.V.21</c:v>
                </c:pt>
                <c:pt idx="136">
                  <c:v>13.V.21</c:v>
                </c:pt>
                <c:pt idx="137">
                  <c:v>14.V.21</c:v>
                </c:pt>
                <c:pt idx="138">
                  <c:v>15.V.21</c:v>
                </c:pt>
                <c:pt idx="139">
                  <c:v>16.V.21</c:v>
                </c:pt>
                <c:pt idx="140">
                  <c:v>17.V.21</c:v>
                </c:pt>
                <c:pt idx="141">
                  <c:v>18.V.21</c:v>
                </c:pt>
                <c:pt idx="142">
                  <c:v>19.V.21</c:v>
                </c:pt>
                <c:pt idx="143">
                  <c:v>20.V.21</c:v>
                </c:pt>
                <c:pt idx="144">
                  <c:v>21.V.21</c:v>
                </c:pt>
                <c:pt idx="145">
                  <c:v>22.V.21</c:v>
                </c:pt>
                <c:pt idx="146">
                  <c:v>23.V.21</c:v>
                </c:pt>
                <c:pt idx="147">
                  <c:v>24.V.21</c:v>
                </c:pt>
                <c:pt idx="148">
                  <c:v>25.V.21</c:v>
                </c:pt>
                <c:pt idx="149">
                  <c:v>26.V.21</c:v>
                </c:pt>
                <c:pt idx="150">
                  <c:v>27.V.21</c:v>
                </c:pt>
                <c:pt idx="151">
                  <c:v>28.V.21</c:v>
                </c:pt>
                <c:pt idx="152">
                  <c:v>29.V.21</c:v>
                </c:pt>
                <c:pt idx="153">
                  <c:v>30.V.21</c:v>
                </c:pt>
                <c:pt idx="154">
                  <c:v>31.V.21</c:v>
                </c:pt>
                <c:pt idx="155">
                  <c:v>1.VI.21</c:v>
                </c:pt>
                <c:pt idx="156">
                  <c:v>2.VI.21</c:v>
                </c:pt>
                <c:pt idx="157">
                  <c:v>3.VI.21</c:v>
                </c:pt>
                <c:pt idx="158">
                  <c:v>4.VI.21</c:v>
                </c:pt>
                <c:pt idx="159">
                  <c:v>5.VI.21</c:v>
                </c:pt>
                <c:pt idx="160">
                  <c:v>6.VI.21</c:v>
                </c:pt>
                <c:pt idx="161">
                  <c:v>7.VI.21</c:v>
                </c:pt>
                <c:pt idx="162">
                  <c:v>8.VI.21</c:v>
                </c:pt>
                <c:pt idx="163">
                  <c:v>9.VI.21</c:v>
                </c:pt>
                <c:pt idx="164">
                  <c:v>10.VI.21</c:v>
                </c:pt>
                <c:pt idx="165">
                  <c:v>11.VI.21</c:v>
                </c:pt>
                <c:pt idx="166">
                  <c:v>12.VI.21</c:v>
                </c:pt>
                <c:pt idx="167">
                  <c:v>13.VI.21</c:v>
                </c:pt>
                <c:pt idx="168">
                  <c:v>14.VI.21</c:v>
                </c:pt>
                <c:pt idx="169">
                  <c:v>15.VI.21</c:v>
                </c:pt>
                <c:pt idx="170">
                  <c:v>16.VI.21</c:v>
                </c:pt>
                <c:pt idx="171">
                  <c:v>17.VI.21</c:v>
                </c:pt>
                <c:pt idx="172">
                  <c:v>18.VI.21</c:v>
                </c:pt>
                <c:pt idx="173">
                  <c:v>19.VI.21</c:v>
                </c:pt>
                <c:pt idx="174">
                  <c:v>20.VI.21</c:v>
                </c:pt>
                <c:pt idx="175">
                  <c:v>21.VI.21</c:v>
                </c:pt>
                <c:pt idx="176">
                  <c:v>22.VI.21</c:v>
                </c:pt>
                <c:pt idx="177">
                  <c:v>23.VI.21</c:v>
                </c:pt>
                <c:pt idx="178">
                  <c:v>24.VI.21</c:v>
                </c:pt>
                <c:pt idx="179">
                  <c:v>25.VI.21</c:v>
                </c:pt>
                <c:pt idx="180">
                  <c:v>26.VI.21</c:v>
                </c:pt>
                <c:pt idx="181">
                  <c:v>27.VI.21</c:v>
                </c:pt>
                <c:pt idx="182">
                  <c:v>28.VI.21</c:v>
                </c:pt>
                <c:pt idx="183">
                  <c:v>29.VI.21</c:v>
                </c:pt>
                <c:pt idx="184">
                  <c:v>30.VI.21</c:v>
                </c:pt>
                <c:pt idx="185">
                  <c:v>1.VII.21</c:v>
                </c:pt>
                <c:pt idx="186">
                  <c:v>2.VII.21</c:v>
                </c:pt>
                <c:pt idx="187">
                  <c:v>3.VII.21</c:v>
                </c:pt>
                <c:pt idx="188">
                  <c:v>4.VII.21</c:v>
                </c:pt>
                <c:pt idx="189">
                  <c:v>5.VII.21</c:v>
                </c:pt>
                <c:pt idx="190">
                  <c:v>6.VII.21</c:v>
                </c:pt>
                <c:pt idx="191">
                  <c:v>7.VII.21</c:v>
                </c:pt>
                <c:pt idx="192">
                  <c:v>8.VII.21</c:v>
                </c:pt>
                <c:pt idx="193">
                  <c:v>9.VII.21</c:v>
                </c:pt>
                <c:pt idx="194">
                  <c:v>10.VII.21</c:v>
                </c:pt>
                <c:pt idx="195">
                  <c:v>11.VII.21</c:v>
                </c:pt>
                <c:pt idx="196">
                  <c:v>12.VII.21</c:v>
                </c:pt>
                <c:pt idx="197">
                  <c:v>13.VII.21</c:v>
                </c:pt>
                <c:pt idx="198">
                  <c:v>14.VII.21</c:v>
                </c:pt>
                <c:pt idx="199">
                  <c:v>15.VII.21</c:v>
                </c:pt>
                <c:pt idx="200">
                  <c:v>16.VII.21</c:v>
                </c:pt>
                <c:pt idx="201">
                  <c:v>17.VII.21</c:v>
                </c:pt>
                <c:pt idx="202">
                  <c:v>18.VII.21</c:v>
                </c:pt>
                <c:pt idx="203">
                  <c:v>19.VII.21</c:v>
                </c:pt>
                <c:pt idx="204">
                  <c:v>20.VII.21</c:v>
                </c:pt>
                <c:pt idx="205">
                  <c:v>21.VII.21</c:v>
                </c:pt>
                <c:pt idx="206">
                  <c:v>22.VII.21</c:v>
                </c:pt>
                <c:pt idx="207">
                  <c:v>23.VII.21</c:v>
                </c:pt>
                <c:pt idx="208">
                  <c:v>24.VII.21</c:v>
                </c:pt>
                <c:pt idx="209">
                  <c:v>25.VII.21</c:v>
                </c:pt>
                <c:pt idx="210">
                  <c:v>26.VII.21</c:v>
                </c:pt>
                <c:pt idx="211">
                  <c:v>27.VII.21</c:v>
                </c:pt>
                <c:pt idx="212">
                  <c:v>28.VII.21</c:v>
                </c:pt>
                <c:pt idx="213">
                  <c:v>29.VII.21</c:v>
                </c:pt>
                <c:pt idx="214">
                  <c:v>30.VII.21</c:v>
                </c:pt>
                <c:pt idx="215">
                  <c:v>31.VII.21</c:v>
                </c:pt>
                <c:pt idx="216">
                  <c:v>1.VIII.21</c:v>
                </c:pt>
                <c:pt idx="217">
                  <c:v>2.VIII.21</c:v>
                </c:pt>
                <c:pt idx="218">
                  <c:v>3.VIII.21</c:v>
                </c:pt>
                <c:pt idx="219">
                  <c:v>4.VIII.21</c:v>
                </c:pt>
                <c:pt idx="220">
                  <c:v>5.VIII.21</c:v>
                </c:pt>
                <c:pt idx="221">
                  <c:v>6.VIII.21</c:v>
                </c:pt>
                <c:pt idx="222">
                  <c:v>7.VIII.21</c:v>
                </c:pt>
                <c:pt idx="223">
                  <c:v>8.VIII.21</c:v>
                </c:pt>
                <c:pt idx="224">
                  <c:v>9.VIII.21</c:v>
                </c:pt>
                <c:pt idx="225">
                  <c:v>10.VIII.21</c:v>
                </c:pt>
                <c:pt idx="226">
                  <c:v>11.VIII.21</c:v>
                </c:pt>
                <c:pt idx="227">
                  <c:v>12.VIII.21</c:v>
                </c:pt>
                <c:pt idx="228">
                  <c:v>13.VIII.21</c:v>
                </c:pt>
                <c:pt idx="229">
                  <c:v>14.VIII.21</c:v>
                </c:pt>
                <c:pt idx="230">
                  <c:v>15.VIII.21</c:v>
                </c:pt>
                <c:pt idx="231">
                  <c:v>16.VIII.21</c:v>
                </c:pt>
                <c:pt idx="232">
                  <c:v>17.VIII.21</c:v>
                </c:pt>
                <c:pt idx="233">
                  <c:v>18.VIII.21</c:v>
                </c:pt>
                <c:pt idx="234">
                  <c:v>19.VIII.21</c:v>
                </c:pt>
                <c:pt idx="235">
                  <c:v>20.VIII.21</c:v>
                </c:pt>
                <c:pt idx="236">
                  <c:v>21.VIII.21</c:v>
                </c:pt>
                <c:pt idx="237">
                  <c:v>22.VIII.21</c:v>
                </c:pt>
                <c:pt idx="238">
                  <c:v>23.VIII.21</c:v>
                </c:pt>
                <c:pt idx="239">
                  <c:v>24.VIII.21</c:v>
                </c:pt>
                <c:pt idx="240">
                  <c:v>25.VIII.21</c:v>
                </c:pt>
                <c:pt idx="241">
                  <c:v>26.VIII.21</c:v>
                </c:pt>
                <c:pt idx="242">
                  <c:v>27.VIII.21</c:v>
                </c:pt>
                <c:pt idx="243">
                  <c:v>28.VIII.21</c:v>
                </c:pt>
                <c:pt idx="244">
                  <c:v>29.VIII.21</c:v>
                </c:pt>
                <c:pt idx="245">
                  <c:v>30.VIII.21</c:v>
                </c:pt>
                <c:pt idx="246">
                  <c:v>31.VIII.21</c:v>
                </c:pt>
                <c:pt idx="247">
                  <c:v>1.IX.21</c:v>
                </c:pt>
                <c:pt idx="248">
                  <c:v>2.IX.21</c:v>
                </c:pt>
                <c:pt idx="249">
                  <c:v>3.IX.21</c:v>
                </c:pt>
                <c:pt idx="250">
                  <c:v>4.IX.21</c:v>
                </c:pt>
                <c:pt idx="251">
                  <c:v>5.IX.21</c:v>
                </c:pt>
                <c:pt idx="252">
                  <c:v>6.IX.21</c:v>
                </c:pt>
                <c:pt idx="253">
                  <c:v>7.IX.21</c:v>
                </c:pt>
                <c:pt idx="254">
                  <c:v>8.IX.21</c:v>
                </c:pt>
                <c:pt idx="255">
                  <c:v>9.IX.21</c:v>
                </c:pt>
                <c:pt idx="256">
                  <c:v>10.IX.21</c:v>
                </c:pt>
                <c:pt idx="257">
                  <c:v>11.IX.21</c:v>
                </c:pt>
                <c:pt idx="258">
                  <c:v>12.IX.21</c:v>
                </c:pt>
                <c:pt idx="259">
                  <c:v>13.IX.21</c:v>
                </c:pt>
                <c:pt idx="260">
                  <c:v>14.IX.21</c:v>
                </c:pt>
                <c:pt idx="261">
                  <c:v>15.IX.21</c:v>
                </c:pt>
                <c:pt idx="262">
                  <c:v>16.IX.21</c:v>
                </c:pt>
                <c:pt idx="263">
                  <c:v>17.IX.21</c:v>
                </c:pt>
                <c:pt idx="264">
                  <c:v>18.IX.21</c:v>
                </c:pt>
                <c:pt idx="265">
                  <c:v>19.IX.21</c:v>
                </c:pt>
                <c:pt idx="266">
                  <c:v>20.IX.21</c:v>
                </c:pt>
                <c:pt idx="267">
                  <c:v>21.IX.21</c:v>
                </c:pt>
                <c:pt idx="268">
                  <c:v>22.IX.21</c:v>
                </c:pt>
                <c:pt idx="269">
                  <c:v>23.IX.21</c:v>
                </c:pt>
                <c:pt idx="270">
                  <c:v>24.IX.21</c:v>
                </c:pt>
                <c:pt idx="271">
                  <c:v>25.IX.21</c:v>
                </c:pt>
                <c:pt idx="272">
                  <c:v>26.IX.21</c:v>
                </c:pt>
                <c:pt idx="273">
                  <c:v>27.IX.21</c:v>
                </c:pt>
                <c:pt idx="274">
                  <c:v>28.IX.21</c:v>
                </c:pt>
                <c:pt idx="275">
                  <c:v>29.IX.21</c:v>
                </c:pt>
                <c:pt idx="276">
                  <c:v>30.IX.21</c:v>
                </c:pt>
                <c:pt idx="277">
                  <c:v>1.X.21</c:v>
                </c:pt>
                <c:pt idx="278">
                  <c:v>2.X.21</c:v>
                </c:pt>
                <c:pt idx="279">
                  <c:v>3.X.21</c:v>
                </c:pt>
                <c:pt idx="280">
                  <c:v>4.X.21</c:v>
                </c:pt>
                <c:pt idx="281">
                  <c:v>5.X.21</c:v>
                </c:pt>
                <c:pt idx="282">
                  <c:v>6.X.21</c:v>
                </c:pt>
                <c:pt idx="283">
                  <c:v>7.X.21</c:v>
                </c:pt>
                <c:pt idx="284">
                  <c:v>8.X.21</c:v>
                </c:pt>
                <c:pt idx="285">
                  <c:v>9.X.21</c:v>
                </c:pt>
                <c:pt idx="286">
                  <c:v>10.X.21</c:v>
                </c:pt>
                <c:pt idx="287">
                  <c:v>11.X.21</c:v>
                </c:pt>
                <c:pt idx="288">
                  <c:v>12.X.21</c:v>
                </c:pt>
                <c:pt idx="289">
                  <c:v>13.X.21</c:v>
                </c:pt>
                <c:pt idx="290">
                  <c:v>14.X.21</c:v>
                </c:pt>
                <c:pt idx="291">
                  <c:v>15.X.21</c:v>
                </c:pt>
                <c:pt idx="292">
                  <c:v>16.X.21</c:v>
                </c:pt>
                <c:pt idx="293">
                  <c:v>17.X.21</c:v>
                </c:pt>
                <c:pt idx="294">
                  <c:v>18.X.21</c:v>
                </c:pt>
                <c:pt idx="295">
                  <c:v>19.X.21</c:v>
                </c:pt>
                <c:pt idx="296">
                  <c:v>20.X.21</c:v>
                </c:pt>
                <c:pt idx="297">
                  <c:v>21.X.21</c:v>
                </c:pt>
                <c:pt idx="298">
                  <c:v>22.X.21</c:v>
                </c:pt>
                <c:pt idx="299">
                  <c:v>23.X.21</c:v>
                </c:pt>
                <c:pt idx="300">
                  <c:v>24.X.21</c:v>
                </c:pt>
                <c:pt idx="301">
                  <c:v>25.X.21</c:v>
                </c:pt>
                <c:pt idx="302">
                  <c:v>26.X.21</c:v>
                </c:pt>
                <c:pt idx="303">
                  <c:v>27.X.21</c:v>
                </c:pt>
                <c:pt idx="304">
                  <c:v>28.X.21</c:v>
                </c:pt>
                <c:pt idx="305">
                  <c:v>29.X.21</c:v>
                </c:pt>
                <c:pt idx="306">
                  <c:v>30.X.21</c:v>
                </c:pt>
                <c:pt idx="307">
                  <c:v>31.X.21</c:v>
                </c:pt>
                <c:pt idx="308">
                  <c:v>1.XI.21</c:v>
                </c:pt>
                <c:pt idx="309">
                  <c:v>2.XI.21</c:v>
                </c:pt>
                <c:pt idx="310">
                  <c:v>3.XI.21</c:v>
                </c:pt>
                <c:pt idx="311">
                  <c:v>4.XI.21</c:v>
                </c:pt>
                <c:pt idx="312">
                  <c:v>5.XI.21</c:v>
                </c:pt>
                <c:pt idx="313">
                  <c:v>6.XI.21</c:v>
                </c:pt>
                <c:pt idx="314">
                  <c:v>7.XI.21</c:v>
                </c:pt>
                <c:pt idx="315">
                  <c:v>8.XI.21</c:v>
                </c:pt>
                <c:pt idx="316">
                  <c:v>9.XI.21</c:v>
                </c:pt>
                <c:pt idx="317">
                  <c:v>10.XI.21</c:v>
                </c:pt>
                <c:pt idx="318">
                  <c:v>11.XI.21</c:v>
                </c:pt>
                <c:pt idx="319">
                  <c:v>12.XI.21</c:v>
                </c:pt>
                <c:pt idx="320">
                  <c:v>13.XI.21</c:v>
                </c:pt>
                <c:pt idx="321">
                  <c:v>14.XI.21</c:v>
                </c:pt>
                <c:pt idx="322">
                  <c:v>15.XI.21</c:v>
                </c:pt>
                <c:pt idx="323">
                  <c:v>16.XI.21</c:v>
                </c:pt>
                <c:pt idx="324">
                  <c:v>17.XI.21</c:v>
                </c:pt>
                <c:pt idx="325">
                  <c:v>18.XI.21</c:v>
                </c:pt>
                <c:pt idx="326">
                  <c:v>19.XI.21</c:v>
                </c:pt>
                <c:pt idx="327">
                  <c:v>20.XI.21</c:v>
                </c:pt>
                <c:pt idx="328">
                  <c:v>21.XI.21</c:v>
                </c:pt>
                <c:pt idx="329">
                  <c:v>22.XI.21</c:v>
                </c:pt>
                <c:pt idx="330">
                  <c:v>23.XI.21</c:v>
                </c:pt>
                <c:pt idx="331">
                  <c:v>24.XI.21</c:v>
                </c:pt>
                <c:pt idx="332">
                  <c:v>25.XI.21</c:v>
                </c:pt>
                <c:pt idx="333">
                  <c:v>26.XI.21</c:v>
                </c:pt>
                <c:pt idx="334">
                  <c:v>27.XI.21</c:v>
                </c:pt>
                <c:pt idx="335">
                  <c:v>28.XI.21</c:v>
                </c:pt>
                <c:pt idx="336">
                  <c:v>29.XI.21</c:v>
                </c:pt>
                <c:pt idx="337">
                  <c:v>30.XI.21</c:v>
                </c:pt>
                <c:pt idx="338">
                  <c:v>1.XII.21</c:v>
                </c:pt>
                <c:pt idx="339">
                  <c:v>2.XII.21</c:v>
                </c:pt>
                <c:pt idx="340">
                  <c:v>3.XII.21</c:v>
                </c:pt>
                <c:pt idx="341">
                  <c:v>4.XII.21</c:v>
                </c:pt>
                <c:pt idx="342">
                  <c:v>5.XII.21</c:v>
                </c:pt>
                <c:pt idx="343">
                  <c:v>6.XII.21</c:v>
                </c:pt>
                <c:pt idx="344">
                  <c:v>7.XII.21</c:v>
                </c:pt>
                <c:pt idx="345">
                  <c:v>8.XII.21</c:v>
                </c:pt>
                <c:pt idx="346">
                  <c:v>9.XII.21</c:v>
                </c:pt>
                <c:pt idx="347">
                  <c:v>10.XII.21</c:v>
                </c:pt>
                <c:pt idx="348">
                  <c:v>11.XII.21</c:v>
                </c:pt>
                <c:pt idx="349">
                  <c:v>12.XII.21</c:v>
                </c:pt>
                <c:pt idx="350">
                  <c:v>13.XII.21</c:v>
                </c:pt>
                <c:pt idx="351">
                  <c:v>14.XII.21</c:v>
                </c:pt>
                <c:pt idx="352">
                  <c:v>15.XII.21</c:v>
                </c:pt>
                <c:pt idx="353">
                  <c:v>16.XII.21</c:v>
                </c:pt>
                <c:pt idx="354">
                  <c:v>17.XII.21</c:v>
                </c:pt>
                <c:pt idx="355">
                  <c:v>18.XII.21</c:v>
                </c:pt>
                <c:pt idx="356">
                  <c:v>19.XII.21</c:v>
                </c:pt>
                <c:pt idx="357">
                  <c:v>20.XII.21</c:v>
                </c:pt>
                <c:pt idx="358">
                  <c:v>21.XII.21</c:v>
                </c:pt>
                <c:pt idx="359">
                  <c:v>22.XII.21</c:v>
                </c:pt>
                <c:pt idx="360">
                  <c:v>23.XII.21</c:v>
                </c:pt>
                <c:pt idx="361">
                  <c:v>27.XII.21</c:v>
                </c:pt>
                <c:pt idx="362">
                  <c:v>28.XII.21</c:v>
                </c:pt>
                <c:pt idx="363">
                  <c:v>29.XII.21</c:v>
                </c:pt>
                <c:pt idx="364">
                  <c:v>30.XII.21</c:v>
                </c:pt>
                <c:pt idx="365">
                  <c:v>31.XII.21</c:v>
                </c:pt>
                <c:pt idx="366">
                  <c:v>2.I.22</c:v>
                </c:pt>
                <c:pt idx="367">
                  <c:v>3.I.22</c:v>
                </c:pt>
                <c:pt idx="368">
                  <c:v>4.I.22</c:v>
                </c:pt>
                <c:pt idx="369">
                  <c:v>5.I.22</c:v>
                </c:pt>
                <c:pt idx="370">
                  <c:v>6.I.22</c:v>
                </c:pt>
                <c:pt idx="371">
                  <c:v>7.I.22</c:v>
                </c:pt>
                <c:pt idx="372">
                  <c:v>8.I.22</c:v>
                </c:pt>
                <c:pt idx="373">
                  <c:v>9.I.22</c:v>
                </c:pt>
                <c:pt idx="374">
                  <c:v>10.I.22</c:v>
                </c:pt>
                <c:pt idx="375">
                  <c:v>11.I.22</c:v>
                </c:pt>
                <c:pt idx="376">
                  <c:v>12.I.22</c:v>
                </c:pt>
                <c:pt idx="377">
                  <c:v>13.I.22</c:v>
                </c:pt>
                <c:pt idx="378">
                  <c:v>14.I.22</c:v>
                </c:pt>
                <c:pt idx="379">
                  <c:v>15.I.22</c:v>
                </c:pt>
                <c:pt idx="380">
                  <c:v>16.I.22</c:v>
                </c:pt>
                <c:pt idx="381">
                  <c:v>17.I.22</c:v>
                </c:pt>
                <c:pt idx="382">
                  <c:v>18.I.22</c:v>
                </c:pt>
                <c:pt idx="383">
                  <c:v>19.I.22</c:v>
                </c:pt>
                <c:pt idx="384">
                  <c:v>20.I.22</c:v>
                </c:pt>
                <c:pt idx="385">
                  <c:v>21.I.22</c:v>
                </c:pt>
              </c:strCache>
            </c:strRef>
          </c:cat>
          <c:val>
            <c:numRef>
              <c:f>List1!$J$3:$OE$3</c:f>
              <c:numCache>
                <c:formatCode>General</c:formatCode>
                <c:ptCount val="386"/>
                <c:pt idx="0">
                  <c:v>1123</c:v>
                </c:pt>
                <c:pt idx="1">
                  <c:v>2233</c:v>
                </c:pt>
                <c:pt idx="2">
                  <c:v>3370</c:v>
                </c:pt>
                <c:pt idx="3">
                  <c:v>3751</c:v>
                </c:pt>
                <c:pt idx="4">
                  <c:v>3870</c:v>
                </c:pt>
                <c:pt idx="5">
                  <c:v>4351</c:v>
                </c:pt>
                <c:pt idx="6">
                  <c:v>4669</c:v>
                </c:pt>
                <c:pt idx="7">
                  <c:v>6016</c:v>
                </c:pt>
                <c:pt idx="8">
                  <c:v>7659</c:v>
                </c:pt>
                <c:pt idx="9">
                  <c:v>9672</c:v>
                </c:pt>
                <c:pt idx="10">
                  <c:v>12227</c:v>
                </c:pt>
                <c:pt idx="11">
                  <c:v>15359</c:v>
                </c:pt>
                <c:pt idx="12">
                  <c:v>15805</c:v>
                </c:pt>
                <c:pt idx="13">
                  <c:v>16161</c:v>
                </c:pt>
                <c:pt idx="14">
                  <c:v>18961</c:v>
                </c:pt>
                <c:pt idx="15">
                  <c:v>22153</c:v>
                </c:pt>
                <c:pt idx="16">
                  <c:v>25017</c:v>
                </c:pt>
                <c:pt idx="17">
                  <c:v>28208</c:v>
                </c:pt>
                <c:pt idx="18">
                  <c:v>30990</c:v>
                </c:pt>
                <c:pt idx="19">
                  <c:v>31371</c:v>
                </c:pt>
                <c:pt idx="20">
                  <c:v>31598</c:v>
                </c:pt>
                <c:pt idx="21">
                  <c:v>33554</c:v>
                </c:pt>
                <c:pt idx="22">
                  <c:v>35243</c:v>
                </c:pt>
                <c:pt idx="23">
                  <c:v>36890</c:v>
                </c:pt>
                <c:pt idx="24">
                  <c:v>38425</c:v>
                </c:pt>
                <c:pt idx="25">
                  <c:v>39735</c:v>
                </c:pt>
                <c:pt idx="26">
                  <c:v>39892</c:v>
                </c:pt>
                <c:pt idx="27">
                  <c:v>40001</c:v>
                </c:pt>
                <c:pt idx="28">
                  <c:v>40646</c:v>
                </c:pt>
                <c:pt idx="29">
                  <c:v>41420</c:v>
                </c:pt>
                <c:pt idx="30">
                  <c:v>42074</c:v>
                </c:pt>
                <c:pt idx="31">
                  <c:v>42682</c:v>
                </c:pt>
                <c:pt idx="32">
                  <c:v>43246</c:v>
                </c:pt>
                <c:pt idx="33">
                  <c:v>43268</c:v>
                </c:pt>
                <c:pt idx="34">
                  <c:v>43286</c:v>
                </c:pt>
                <c:pt idx="35">
                  <c:v>43644</c:v>
                </c:pt>
                <c:pt idx="36">
                  <c:v>43986</c:v>
                </c:pt>
                <c:pt idx="37">
                  <c:v>44347</c:v>
                </c:pt>
                <c:pt idx="38">
                  <c:v>44678</c:v>
                </c:pt>
                <c:pt idx="39">
                  <c:v>45096</c:v>
                </c:pt>
                <c:pt idx="40">
                  <c:v>45118</c:v>
                </c:pt>
                <c:pt idx="41">
                  <c:v>45139</c:v>
                </c:pt>
                <c:pt idx="42">
                  <c:v>45408</c:v>
                </c:pt>
                <c:pt idx="43">
                  <c:v>45730</c:v>
                </c:pt>
                <c:pt idx="44">
                  <c:v>46133</c:v>
                </c:pt>
                <c:pt idx="45">
                  <c:v>46606</c:v>
                </c:pt>
                <c:pt idx="46">
                  <c:v>47139</c:v>
                </c:pt>
                <c:pt idx="47">
                  <c:v>47313</c:v>
                </c:pt>
                <c:pt idx="48">
                  <c:v>47367</c:v>
                </c:pt>
                <c:pt idx="49">
                  <c:v>47919</c:v>
                </c:pt>
                <c:pt idx="50">
                  <c:v>48407</c:v>
                </c:pt>
                <c:pt idx="51">
                  <c:v>48977</c:v>
                </c:pt>
                <c:pt idx="52">
                  <c:v>49646</c:v>
                </c:pt>
                <c:pt idx="53">
                  <c:v>50403</c:v>
                </c:pt>
                <c:pt idx="54">
                  <c:v>50531</c:v>
                </c:pt>
                <c:pt idx="55">
                  <c:v>50590</c:v>
                </c:pt>
                <c:pt idx="56">
                  <c:v>51187</c:v>
                </c:pt>
                <c:pt idx="57">
                  <c:v>52003</c:v>
                </c:pt>
                <c:pt idx="58">
                  <c:v>52826</c:v>
                </c:pt>
                <c:pt idx="59">
                  <c:v>54052</c:v>
                </c:pt>
                <c:pt idx="60">
                  <c:v>55042</c:v>
                </c:pt>
                <c:pt idx="61">
                  <c:v>55117</c:v>
                </c:pt>
                <c:pt idx="62">
                  <c:v>55165</c:v>
                </c:pt>
                <c:pt idx="63">
                  <c:v>56053</c:v>
                </c:pt>
                <c:pt idx="64">
                  <c:v>57005</c:v>
                </c:pt>
                <c:pt idx="65">
                  <c:v>58000</c:v>
                </c:pt>
                <c:pt idx="66">
                  <c:v>58910</c:v>
                </c:pt>
                <c:pt idx="67">
                  <c:v>60099</c:v>
                </c:pt>
                <c:pt idx="68">
                  <c:v>60349</c:v>
                </c:pt>
                <c:pt idx="69">
                  <c:v>60539</c:v>
                </c:pt>
                <c:pt idx="70">
                  <c:v>61317</c:v>
                </c:pt>
                <c:pt idx="71">
                  <c:v>62244</c:v>
                </c:pt>
                <c:pt idx="72">
                  <c:v>63192</c:v>
                </c:pt>
                <c:pt idx="73">
                  <c:v>64519</c:v>
                </c:pt>
                <c:pt idx="74">
                  <c:v>65623</c:v>
                </c:pt>
                <c:pt idx="75">
                  <c:v>65859</c:v>
                </c:pt>
                <c:pt idx="76">
                  <c:v>66102</c:v>
                </c:pt>
                <c:pt idx="77">
                  <c:v>66807</c:v>
                </c:pt>
                <c:pt idx="78">
                  <c:v>67848</c:v>
                </c:pt>
                <c:pt idx="79">
                  <c:v>68870</c:v>
                </c:pt>
                <c:pt idx="80">
                  <c:v>69764</c:v>
                </c:pt>
                <c:pt idx="81">
                  <c:v>70740</c:v>
                </c:pt>
                <c:pt idx="82">
                  <c:v>71100</c:v>
                </c:pt>
                <c:pt idx="83">
                  <c:v>71272</c:v>
                </c:pt>
                <c:pt idx="84">
                  <c:v>71805</c:v>
                </c:pt>
                <c:pt idx="85">
                  <c:v>72357</c:v>
                </c:pt>
                <c:pt idx="86">
                  <c:v>72863</c:v>
                </c:pt>
                <c:pt idx="87">
                  <c:v>73423</c:v>
                </c:pt>
                <c:pt idx="88">
                  <c:v>74004</c:v>
                </c:pt>
                <c:pt idx="89">
                  <c:v>74156</c:v>
                </c:pt>
                <c:pt idx="90">
                  <c:v>74323</c:v>
                </c:pt>
                <c:pt idx="91">
                  <c:v>74671</c:v>
                </c:pt>
                <c:pt idx="92">
                  <c:v>75117</c:v>
                </c:pt>
                <c:pt idx="93">
                  <c:v>75585</c:v>
                </c:pt>
                <c:pt idx="94">
                  <c:v>76039</c:v>
                </c:pt>
                <c:pt idx="95">
                  <c:v>76144</c:v>
                </c:pt>
                <c:pt idx="96">
                  <c:v>76186</c:v>
                </c:pt>
                <c:pt idx="97">
                  <c:v>76235</c:v>
                </c:pt>
                <c:pt idx="98">
                  <c:v>76271</c:v>
                </c:pt>
                <c:pt idx="99">
                  <c:v>76517</c:v>
                </c:pt>
                <c:pt idx="100">
                  <c:v>76835</c:v>
                </c:pt>
                <c:pt idx="101">
                  <c:v>77374</c:v>
                </c:pt>
                <c:pt idx="102">
                  <c:v>77948</c:v>
                </c:pt>
                <c:pt idx="103">
                  <c:v>78107</c:v>
                </c:pt>
                <c:pt idx="104">
                  <c:v>78208</c:v>
                </c:pt>
                <c:pt idx="105">
                  <c:v>78635</c:v>
                </c:pt>
                <c:pt idx="106">
                  <c:v>79014</c:v>
                </c:pt>
                <c:pt idx="107">
                  <c:v>79468</c:v>
                </c:pt>
                <c:pt idx="108">
                  <c:v>80128</c:v>
                </c:pt>
                <c:pt idx="109">
                  <c:v>80854</c:v>
                </c:pt>
                <c:pt idx="110">
                  <c:v>81058</c:v>
                </c:pt>
                <c:pt idx="111">
                  <c:v>81249</c:v>
                </c:pt>
                <c:pt idx="112">
                  <c:v>81770</c:v>
                </c:pt>
                <c:pt idx="113">
                  <c:v>82274</c:v>
                </c:pt>
                <c:pt idx="114">
                  <c:v>82933</c:v>
                </c:pt>
                <c:pt idx="115">
                  <c:v>83658</c:v>
                </c:pt>
                <c:pt idx="116">
                  <c:v>84369</c:v>
                </c:pt>
                <c:pt idx="117">
                  <c:v>84569</c:v>
                </c:pt>
                <c:pt idx="118">
                  <c:v>84757</c:v>
                </c:pt>
                <c:pt idx="119">
                  <c:v>85363</c:v>
                </c:pt>
                <c:pt idx="120">
                  <c:v>85911</c:v>
                </c:pt>
                <c:pt idx="121">
                  <c:v>86614</c:v>
                </c:pt>
                <c:pt idx="122">
                  <c:v>87371</c:v>
                </c:pt>
                <c:pt idx="123">
                  <c:v>88019</c:v>
                </c:pt>
                <c:pt idx="124">
                  <c:v>88173</c:v>
                </c:pt>
                <c:pt idx="125">
                  <c:v>88326</c:v>
                </c:pt>
                <c:pt idx="126">
                  <c:v>88835</c:v>
                </c:pt>
                <c:pt idx="127">
                  <c:v>89356</c:v>
                </c:pt>
                <c:pt idx="128">
                  <c:v>89881</c:v>
                </c:pt>
                <c:pt idx="129">
                  <c:v>90428</c:v>
                </c:pt>
                <c:pt idx="130">
                  <c:v>91000</c:v>
                </c:pt>
                <c:pt idx="131">
                  <c:v>91217</c:v>
                </c:pt>
                <c:pt idx="132">
                  <c:v>91324</c:v>
                </c:pt>
                <c:pt idx="133">
                  <c:v>91722</c:v>
                </c:pt>
                <c:pt idx="134">
                  <c:v>92201</c:v>
                </c:pt>
                <c:pt idx="135">
                  <c:v>92634</c:v>
                </c:pt>
                <c:pt idx="136">
                  <c:v>93069</c:v>
                </c:pt>
                <c:pt idx="137">
                  <c:v>93436</c:v>
                </c:pt>
                <c:pt idx="138">
                  <c:v>93598</c:v>
                </c:pt>
                <c:pt idx="139">
                  <c:v>93702</c:v>
                </c:pt>
                <c:pt idx="140">
                  <c:v>94019</c:v>
                </c:pt>
                <c:pt idx="141">
                  <c:v>94392</c:v>
                </c:pt>
                <c:pt idx="142">
                  <c:v>94753</c:v>
                </c:pt>
                <c:pt idx="143">
                  <c:v>95146</c:v>
                </c:pt>
                <c:pt idx="144">
                  <c:v>95510</c:v>
                </c:pt>
                <c:pt idx="145">
                  <c:v>95655</c:v>
                </c:pt>
                <c:pt idx="146">
                  <c:v>95753</c:v>
                </c:pt>
                <c:pt idx="147">
                  <c:v>95968</c:v>
                </c:pt>
                <c:pt idx="148">
                  <c:v>96207</c:v>
                </c:pt>
                <c:pt idx="149">
                  <c:v>96559</c:v>
                </c:pt>
                <c:pt idx="150">
                  <c:v>96888</c:v>
                </c:pt>
                <c:pt idx="151">
                  <c:v>97173</c:v>
                </c:pt>
                <c:pt idx="152">
                  <c:v>97316</c:v>
                </c:pt>
                <c:pt idx="153">
                  <c:v>97407</c:v>
                </c:pt>
                <c:pt idx="154">
                  <c:v>97684</c:v>
                </c:pt>
                <c:pt idx="155">
                  <c:v>97955</c:v>
                </c:pt>
                <c:pt idx="156">
                  <c:v>98299</c:v>
                </c:pt>
                <c:pt idx="157">
                  <c:v>98652</c:v>
                </c:pt>
                <c:pt idx="158">
                  <c:v>98977</c:v>
                </c:pt>
                <c:pt idx="159">
                  <c:v>99114</c:v>
                </c:pt>
                <c:pt idx="160">
                  <c:v>99244</c:v>
                </c:pt>
                <c:pt idx="161">
                  <c:v>99581</c:v>
                </c:pt>
                <c:pt idx="162">
                  <c:v>99921</c:v>
                </c:pt>
                <c:pt idx="163">
                  <c:v>100271</c:v>
                </c:pt>
                <c:pt idx="164">
                  <c:v>100632</c:v>
                </c:pt>
                <c:pt idx="165">
                  <c:v>100933</c:v>
                </c:pt>
                <c:pt idx="166">
                  <c:v>101141</c:v>
                </c:pt>
                <c:pt idx="167">
                  <c:v>101258</c:v>
                </c:pt>
                <c:pt idx="168">
                  <c:v>101502</c:v>
                </c:pt>
                <c:pt idx="169">
                  <c:v>101776</c:v>
                </c:pt>
                <c:pt idx="170">
                  <c:v>102017</c:v>
                </c:pt>
                <c:pt idx="171">
                  <c:v>102288</c:v>
                </c:pt>
                <c:pt idx="172">
                  <c:v>102505</c:v>
                </c:pt>
                <c:pt idx="173">
                  <c:v>102623</c:v>
                </c:pt>
                <c:pt idx="174">
                  <c:v>102717</c:v>
                </c:pt>
                <c:pt idx="175">
                  <c:v>102895</c:v>
                </c:pt>
                <c:pt idx="176">
                  <c:v>103116</c:v>
                </c:pt>
                <c:pt idx="177">
                  <c:v>103305</c:v>
                </c:pt>
                <c:pt idx="178">
                  <c:v>103466</c:v>
                </c:pt>
                <c:pt idx="179">
                  <c:v>103652</c:v>
                </c:pt>
                <c:pt idx="180">
                  <c:v>103743</c:v>
                </c:pt>
                <c:pt idx="181">
                  <c:v>103811</c:v>
                </c:pt>
                <c:pt idx="182">
                  <c:v>103992</c:v>
                </c:pt>
                <c:pt idx="183">
                  <c:v>104160</c:v>
                </c:pt>
                <c:pt idx="184">
                  <c:v>104341</c:v>
                </c:pt>
                <c:pt idx="185">
                  <c:v>104482</c:v>
                </c:pt>
                <c:pt idx="186">
                  <c:v>104675</c:v>
                </c:pt>
                <c:pt idx="187">
                  <c:v>104709</c:v>
                </c:pt>
                <c:pt idx="188">
                  <c:v>104754</c:v>
                </c:pt>
                <c:pt idx="189">
                  <c:v>104803</c:v>
                </c:pt>
                <c:pt idx="190">
                  <c:v>104835</c:v>
                </c:pt>
                <c:pt idx="191">
                  <c:v>104999</c:v>
                </c:pt>
                <c:pt idx="192">
                  <c:v>105177</c:v>
                </c:pt>
                <c:pt idx="193">
                  <c:v>105350</c:v>
                </c:pt>
                <c:pt idx="194">
                  <c:v>105410</c:v>
                </c:pt>
                <c:pt idx="195">
                  <c:v>105459</c:v>
                </c:pt>
                <c:pt idx="196">
                  <c:v>105621</c:v>
                </c:pt>
                <c:pt idx="197">
                  <c:v>105806</c:v>
                </c:pt>
                <c:pt idx="198">
                  <c:v>106009</c:v>
                </c:pt>
                <c:pt idx="199">
                  <c:v>106200</c:v>
                </c:pt>
                <c:pt idx="200">
                  <c:v>106383</c:v>
                </c:pt>
                <c:pt idx="201">
                  <c:v>106433</c:v>
                </c:pt>
                <c:pt idx="202">
                  <c:v>106491</c:v>
                </c:pt>
                <c:pt idx="203">
                  <c:v>106661</c:v>
                </c:pt>
                <c:pt idx="204">
                  <c:v>106810</c:v>
                </c:pt>
                <c:pt idx="205">
                  <c:v>106990</c:v>
                </c:pt>
                <c:pt idx="206">
                  <c:v>107168</c:v>
                </c:pt>
                <c:pt idx="207">
                  <c:v>107315</c:v>
                </c:pt>
                <c:pt idx="208">
                  <c:v>107359</c:v>
                </c:pt>
                <c:pt idx="209">
                  <c:v>107385</c:v>
                </c:pt>
                <c:pt idx="210">
                  <c:v>107553</c:v>
                </c:pt>
                <c:pt idx="211">
                  <c:v>107723</c:v>
                </c:pt>
                <c:pt idx="212">
                  <c:v>107874</c:v>
                </c:pt>
                <c:pt idx="213">
                  <c:v>108023</c:v>
                </c:pt>
                <c:pt idx="214">
                  <c:v>108188</c:v>
                </c:pt>
                <c:pt idx="215">
                  <c:v>108227</c:v>
                </c:pt>
                <c:pt idx="216">
                  <c:v>108267</c:v>
                </c:pt>
                <c:pt idx="217">
                  <c:v>108366</c:v>
                </c:pt>
                <c:pt idx="218">
                  <c:v>108478</c:v>
                </c:pt>
                <c:pt idx="219">
                  <c:v>108607</c:v>
                </c:pt>
                <c:pt idx="220">
                  <c:v>108716</c:v>
                </c:pt>
                <c:pt idx="221">
                  <c:v>108835</c:v>
                </c:pt>
                <c:pt idx="222">
                  <c:v>108857</c:v>
                </c:pt>
                <c:pt idx="223">
                  <c:v>108882</c:v>
                </c:pt>
                <c:pt idx="224">
                  <c:v>108967</c:v>
                </c:pt>
                <c:pt idx="225">
                  <c:v>109046</c:v>
                </c:pt>
                <c:pt idx="226">
                  <c:v>109116</c:v>
                </c:pt>
                <c:pt idx="227">
                  <c:v>109222</c:v>
                </c:pt>
                <c:pt idx="228">
                  <c:v>109285</c:v>
                </c:pt>
                <c:pt idx="229">
                  <c:v>109306</c:v>
                </c:pt>
                <c:pt idx="230">
                  <c:v>109328</c:v>
                </c:pt>
                <c:pt idx="231">
                  <c:v>109411</c:v>
                </c:pt>
                <c:pt idx="232">
                  <c:v>109490</c:v>
                </c:pt>
                <c:pt idx="233">
                  <c:v>109552</c:v>
                </c:pt>
                <c:pt idx="234">
                  <c:v>109622</c:v>
                </c:pt>
                <c:pt idx="235">
                  <c:v>109737</c:v>
                </c:pt>
                <c:pt idx="236">
                  <c:v>109751</c:v>
                </c:pt>
                <c:pt idx="237">
                  <c:v>109762</c:v>
                </c:pt>
                <c:pt idx="238">
                  <c:v>109858</c:v>
                </c:pt>
                <c:pt idx="239">
                  <c:v>109946</c:v>
                </c:pt>
                <c:pt idx="240">
                  <c:v>110013</c:v>
                </c:pt>
                <c:pt idx="241">
                  <c:v>110085</c:v>
                </c:pt>
                <c:pt idx="242">
                  <c:v>110173</c:v>
                </c:pt>
                <c:pt idx="243">
                  <c:v>110189</c:v>
                </c:pt>
                <c:pt idx="244">
                  <c:v>110205</c:v>
                </c:pt>
                <c:pt idx="245">
                  <c:v>110277</c:v>
                </c:pt>
                <c:pt idx="246">
                  <c:v>110338</c:v>
                </c:pt>
                <c:pt idx="247">
                  <c:v>110394</c:v>
                </c:pt>
                <c:pt idx="248">
                  <c:v>110467</c:v>
                </c:pt>
                <c:pt idx="249">
                  <c:v>110543</c:v>
                </c:pt>
                <c:pt idx="250">
                  <c:v>110555</c:v>
                </c:pt>
                <c:pt idx="251">
                  <c:v>110565</c:v>
                </c:pt>
                <c:pt idx="252">
                  <c:v>110624</c:v>
                </c:pt>
                <c:pt idx="253">
                  <c:v>110666</c:v>
                </c:pt>
                <c:pt idx="254">
                  <c:v>110717</c:v>
                </c:pt>
                <c:pt idx="255">
                  <c:v>110773</c:v>
                </c:pt>
                <c:pt idx="256">
                  <c:v>110824</c:v>
                </c:pt>
                <c:pt idx="257">
                  <c:v>110841</c:v>
                </c:pt>
                <c:pt idx="258">
                  <c:v>110848</c:v>
                </c:pt>
                <c:pt idx="259">
                  <c:v>110892</c:v>
                </c:pt>
                <c:pt idx="260">
                  <c:v>110954</c:v>
                </c:pt>
                <c:pt idx="261">
                  <c:v>111002</c:v>
                </c:pt>
                <c:pt idx="262">
                  <c:v>111059</c:v>
                </c:pt>
                <c:pt idx="263">
                  <c:v>111126</c:v>
                </c:pt>
                <c:pt idx="264">
                  <c:v>111143</c:v>
                </c:pt>
                <c:pt idx="265">
                  <c:v>111150</c:v>
                </c:pt>
                <c:pt idx="266">
                  <c:v>111188</c:v>
                </c:pt>
                <c:pt idx="267">
                  <c:v>111237</c:v>
                </c:pt>
                <c:pt idx="268">
                  <c:v>111280</c:v>
                </c:pt>
                <c:pt idx="269">
                  <c:v>111333</c:v>
                </c:pt>
                <c:pt idx="270">
                  <c:v>111405</c:v>
                </c:pt>
                <c:pt idx="271">
                  <c:v>111415</c:v>
                </c:pt>
                <c:pt idx="272">
                  <c:v>111419</c:v>
                </c:pt>
                <c:pt idx="273">
                  <c:v>111462</c:v>
                </c:pt>
                <c:pt idx="274">
                  <c:v>111464</c:v>
                </c:pt>
                <c:pt idx="275">
                  <c:v>111505</c:v>
                </c:pt>
                <c:pt idx="276">
                  <c:v>111544</c:v>
                </c:pt>
                <c:pt idx="277">
                  <c:v>111578</c:v>
                </c:pt>
                <c:pt idx="278">
                  <c:v>111585</c:v>
                </c:pt>
                <c:pt idx="279">
                  <c:v>111592</c:v>
                </c:pt>
                <c:pt idx="280">
                  <c:v>111620</c:v>
                </c:pt>
                <c:pt idx="281">
                  <c:v>111667</c:v>
                </c:pt>
                <c:pt idx="282">
                  <c:v>111716</c:v>
                </c:pt>
                <c:pt idx="283">
                  <c:v>111744</c:v>
                </c:pt>
                <c:pt idx="284">
                  <c:v>111794</c:v>
                </c:pt>
                <c:pt idx="285">
                  <c:v>111804</c:v>
                </c:pt>
                <c:pt idx="286">
                  <c:v>111809</c:v>
                </c:pt>
                <c:pt idx="287">
                  <c:v>111839</c:v>
                </c:pt>
                <c:pt idx="288">
                  <c:v>111860</c:v>
                </c:pt>
                <c:pt idx="289">
                  <c:v>111897</c:v>
                </c:pt>
                <c:pt idx="290">
                  <c:v>111927</c:v>
                </c:pt>
                <c:pt idx="291">
                  <c:v>111972</c:v>
                </c:pt>
                <c:pt idx="292">
                  <c:v>111984</c:v>
                </c:pt>
                <c:pt idx="293">
                  <c:v>112001</c:v>
                </c:pt>
                <c:pt idx="294">
                  <c:v>112053</c:v>
                </c:pt>
                <c:pt idx="295">
                  <c:v>112109</c:v>
                </c:pt>
                <c:pt idx="296">
                  <c:v>112168</c:v>
                </c:pt>
                <c:pt idx="297">
                  <c:v>112282</c:v>
                </c:pt>
                <c:pt idx="298">
                  <c:v>112406</c:v>
                </c:pt>
                <c:pt idx="299">
                  <c:v>112432</c:v>
                </c:pt>
                <c:pt idx="300">
                  <c:v>112456</c:v>
                </c:pt>
                <c:pt idx="301">
                  <c:v>112580</c:v>
                </c:pt>
                <c:pt idx="302">
                  <c:v>112748</c:v>
                </c:pt>
                <c:pt idx="303">
                  <c:v>112949</c:v>
                </c:pt>
                <c:pt idx="304">
                  <c:v>112985</c:v>
                </c:pt>
                <c:pt idx="305">
                  <c:v>113149</c:v>
                </c:pt>
                <c:pt idx="306">
                  <c:v>113195</c:v>
                </c:pt>
                <c:pt idx="307">
                  <c:v>113227</c:v>
                </c:pt>
                <c:pt idx="308">
                  <c:v>113396</c:v>
                </c:pt>
                <c:pt idx="309">
                  <c:v>113597</c:v>
                </c:pt>
                <c:pt idx="310">
                  <c:v>113787</c:v>
                </c:pt>
                <c:pt idx="311">
                  <c:v>114020</c:v>
                </c:pt>
                <c:pt idx="312">
                  <c:v>114267</c:v>
                </c:pt>
                <c:pt idx="313">
                  <c:v>114325</c:v>
                </c:pt>
                <c:pt idx="314">
                  <c:v>114363</c:v>
                </c:pt>
                <c:pt idx="315">
                  <c:v>114549</c:v>
                </c:pt>
                <c:pt idx="316">
                  <c:v>114704</c:v>
                </c:pt>
                <c:pt idx="317">
                  <c:v>114892</c:v>
                </c:pt>
                <c:pt idx="318">
                  <c:v>115070</c:v>
                </c:pt>
                <c:pt idx="319">
                  <c:v>115275</c:v>
                </c:pt>
                <c:pt idx="320">
                  <c:v>115334</c:v>
                </c:pt>
                <c:pt idx="321">
                  <c:v>115373</c:v>
                </c:pt>
                <c:pt idx="322">
                  <c:v>115563</c:v>
                </c:pt>
                <c:pt idx="323">
                  <c:v>115767</c:v>
                </c:pt>
                <c:pt idx="324">
                  <c:v>115817</c:v>
                </c:pt>
                <c:pt idx="325">
                  <c:v>116041</c:v>
                </c:pt>
                <c:pt idx="326">
                  <c:v>116318</c:v>
                </c:pt>
                <c:pt idx="327">
                  <c:v>116409</c:v>
                </c:pt>
                <c:pt idx="328">
                  <c:v>116476</c:v>
                </c:pt>
                <c:pt idx="329">
                  <c:v>116662</c:v>
                </c:pt>
                <c:pt idx="330">
                  <c:v>116841</c:v>
                </c:pt>
                <c:pt idx="331">
                  <c:v>117067</c:v>
                </c:pt>
                <c:pt idx="332">
                  <c:v>117282</c:v>
                </c:pt>
                <c:pt idx="333">
                  <c:v>117521</c:v>
                </c:pt>
                <c:pt idx="334">
                  <c:v>117583</c:v>
                </c:pt>
                <c:pt idx="335">
                  <c:v>117606</c:v>
                </c:pt>
                <c:pt idx="336">
                  <c:v>117756</c:v>
                </c:pt>
                <c:pt idx="337">
                  <c:v>117916</c:v>
                </c:pt>
                <c:pt idx="338">
                  <c:v>118071</c:v>
                </c:pt>
                <c:pt idx="339">
                  <c:v>118187</c:v>
                </c:pt>
                <c:pt idx="340">
                  <c:v>118301</c:v>
                </c:pt>
                <c:pt idx="341">
                  <c:v>118328</c:v>
                </c:pt>
                <c:pt idx="342">
                  <c:v>118339</c:v>
                </c:pt>
                <c:pt idx="343">
                  <c:v>118439</c:v>
                </c:pt>
                <c:pt idx="344">
                  <c:v>118522</c:v>
                </c:pt>
                <c:pt idx="345">
                  <c:v>118622</c:v>
                </c:pt>
                <c:pt idx="346">
                  <c:v>118697</c:v>
                </c:pt>
                <c:pt idx="347">
                  <c:v>118779</c:v>
                </c:pt>
                <c:pt idx="348">
                  <c:v>118793</c:v>
                </c:pt>
                <c:pt idx="349">
                  <c:v>118804</c:v>
                </c:pt>
                <c:pt idx="350">
                  <c:v>118890</c:v>
                </c:pt>
                <c:pt idx="351">
                  <c:v>118951</c:v>
                </c:pt>
                <c:pt idx="352">
                  <c:v>119031</c:v>
                </c:pt>
                <c:pt idx="353">
                  <c:v>119112</c:v>
                </c:pt>
                <c:pt idx="354">
                  <c:v>119196</c:v>
                </c:pt>
                <c:pt idx="355">
                  <c:v>119221</c:v>
                </c:pt>
                <c:pt idx="356">
                  <c:v>119225</c:v>
                </c:pt>
                <c:pt idx="357">
                  <c:v>119282</c:v>
                </c:pt>
                <c:pt idx="358">
                  <c:v>119322</c:v>
                </c:pt>
                <c:pt idx="359">
                  <c:v>119361</c:v>
                </c:pt>
                <c:pt idx="360">
                  <c:v>119381</c:v>
                </c:pt>
                <c:pt idx="361">
                  <c:v>119408</c:v>
                </c:pt>
                <c:pt idx="362">
                  <c:v>119443</c:v>
                </c:pt>
                <c:pt idx="363">
                  <c:v>119482</c:v>
                </c:pt>
                <c:pt idx="364">
                  <c:v>119516</c:v>
                </c:pt>
                <c:pt idx="365">
                  <c:v>119519</c:v>
                </c:pt>
                <c:pt idx="366">
                  <c:v>119522</c:v>
                </c:pt>
                <c:pt idx="367">
                  <c:v>119566</c:v>
                </c:pt>
                <c:pt idx="368">
                  <c:v>119600</c:v>
                </c:pt>
                <c:pt idx="369">
                  <c:v>119659</c:v>
                </c:pt>
                <c:pt idx="370">
                  <c:v>119713</c:v>
                </c:pt>
                <c:pt idx="371">
                  <c:v>119799</c:v>
                </c:pt>
                <c:pt idx="372">
                  <c:v>119807</c:v>
                </c:pt>
                <c:pt idx="373">
                  <c:v>119812</c:v>
                </c:pt>
                <c:pt idx="374">
                  <c:v>119852</c:v>
                </c:pt>
                <c:pt idx="375">
                  <c:v>119904</c:v>
                </c:pt>
                <c:pt idx="376">
                  <c:v>119951</c:v>
                </c:pt>
                <c:pt idx="377">
                  <c:v>120011</c:v>
                </c:pt>
                <c:pt idx="378">
                  <c:v>120094</c:v>
                </c:pt>
                <c:pt idx="379">
                  <c:v>120108</c:v>
                </c:pt>
                <c:pt idx="380">
                  <c:v>120114</c:v>
                </c:pt>
                <c:pt idx="381">
                  <c:v>120160</c:v>
                </c:pt>
                <c:pt idx="382">
                  <c:v>120215</c:v>
                </c:pt>
                <c:pt idx="383">
                  <c:v>120254</c:v>
                </c:pt>
                <c:pt idx="384">
                  <c:v>120282</c:v>
                </c:pt>
                <c:pt idx="385">
                  <c:v>1203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P</c:v>
                </c:pt>
              </c:strCache>
            </c:strRef>
          </c:tx>
          <c:spPr>
            <a:ln w="28575" cap="rnd">
              <a:solidFill>
                <a:srgbClr val="A6A6A6"/>
              </a:solidFill>
              <a:round/>
            </a:ln>
            <a:effectLst/>
          </c:spPr>
          <c:marker>
            <c:symbol val="none"/>
          </c:marker>
          <c:cat>
            <c:strRef>
              <c:f>List1!$J$1:$OE$1</c:f>
              <c:strCache>
                <c:ptCount val="386"/>
                <c:pt idx="0">
                  <c:v>28.XII.20</c:v>
                </c:pt>
                <c:pt idx="1">
                  <c:v>29.XII.20</c:v>
                </c:pt>
                <c:pt idx="2">
                  <c:v>30.XII.20</c:v>
                </c:pt>
                <c:pt idx="3">
                  <c:v>31.XII.20</c:v>
                </c:pt>
                <c:pt idx="4">
                  <c:v>1.I.21</c:v>
                </c:pt>
                <c:pt idx="5">
                  <c:v>2.I.21</c:v>
                </c:pt>
                <c:pt idx="6">
                  <c:v>3.I.21</c:v>
                </c:pt>
                <c:pt idx="7">
                  <c:v>4.I.21</c:v>
                </c:pt>
                <c:pt idx="8">
                  <c:v>5.I.21</c:v>
                </c:pt>
                <c:pt idx="9">
                  <c:v>6.I.21</c:v>
                </c:pt>
                <c:pt idx="10">
                  <c:v>7.I.21</c:v>
                </c:pt>
                <c:pt idx="11">
                  <c:v>8.I.21</c:v>
                </c:pt>
                <c:pt idx="12">
                  <c:v>9.I.21</c:v>
                </c:pt>
                <c:pt idx="13">
                  <c:v>10.I.21</c:v>
                </c:pt>
                <c:pt idx="14">
                  <c:v>11.I.21</c:v>
                </c:pt>
                <c:pt idx="15">
                  <c:v>12.I.21</c:v>
                </c:pt>
                <c:pt idx="16">
                  <c:v>13.I.21</c:v>
                </c:pt>
                <c:pt idx="17">
                  <c:v>14.I.21</c:v>
                </c:pt>
                <c:pt idx="18">
                  <c:v>15.I.21</c:v>
                </c:pt>
                <c:pt idx="19">
                  <c:v>16.I.21</c:v>
                </c:pt>
                <c:pt idx="20">
                  <c:v>17.I.21</c:v>
                </c:pt>
                <c:pt idx="21">
                  <c:v>18.I.21</c:v>
                </c:pt>
                <c:pt idx="22">
                  <c:v>19.I.21</c:v>
                </c:pt>
                <c:pt idx="23">
                  <c:v>20.I.21</c:v>
                </c:pt>
                <c:pt idx="24">
                  <c:v>21.I.21</c:v>
                </c:pt>
                <c:pt idx="25">
                  <c:v>22.I.21</c:v>
                </c:pt>
                <c:pt idx="26">
                  <c:v>23.I.21</c:v>
                </c:pt>
                <c:pt idx="27">
                  <c:v>24.I.21</c:v>
                </c:pt>
                <c:pt idx="28">
                  <c:v>25.I.21</c:v>
                </c:pt>
                <c:pt idx="29">
                  <c:v>26.I.21</c:v>
                </c:pt>
                <c:pt idx="30">
                  <c:v>27.I.21</c:v>
                </c:pt>
                <c:pt idx="31">
                  <c:v>28.I.21</c:v>
                </c:pt>
                <c:pt idx="32">
                  <c:v>29.I.21</c:v>
                </c:pt>
                <c:pt idx="33">
                  <c:v>30.I.21</c:v>
                </c:pt>
                <c:pt idx="34">
                  <c:v>31.I.21</c:v>
                </c:pt>
                <c:pt idx="35">
                  <c:v>1.II.21</c:v>
                </c:pt>
                <c:pt idx="36">
                  <c:v>2.II.21</c:v>
                </c:pt>
                <c:pt idx="37">
                  <c:v>3.II.21</c:v>
                </c:pt>
                <c:pt idx="38">
                  <c:v>4.II.21</c:v>
                </c:pt>
                <c:pt idx="39">
                  <c:v>5.II.21</c:v>
                </c:pt>
                <c:pt idx="40">
                  <c:v>6.II.21</c:v>
                </c:pt>
                <c:pt idx="41">
                  <c:v>7.II.21</c:v>
                </c:pt>
                <c:pt idx="42">
                  <c:v>8.II.21</c:v>
                </c:pt>
                <c:pt idx="43">
                  <c:v>9.II.21</c:v>
                </c:pt>
                <c:pt idx="44">
                  <c:v>10.II.21</c:v>
                </c:pt>
                <c:pt idx="45">
                  <c:v>11.II.21</c:v>
                </c:pt>
                <c:pt idx="46">
                  <c:v>12.II.21</c:v>
                </c:pt>
                <c:pt idx="47">
                  <c:v>13.II.21</c:v>
                </c:pt>
                <c:pt idx="48">
                  <c:v>14.II.21</c:v>
                </c:pt>
                <c:pt idx="49">
                  <c:v>15.II.21</c:v>
                </c:pt>
                <c:pt idx="50">
                  <c:v>16.II.21</c:v>
                </c:pt>
                <c:pt idx="51">
                  <c:v>17.II.21</c:v>
                </c:pt>
                <c:pt idx="52">
                  <c:v>18.II.21</c:v>
                </c:pt>
                <c:pt idx="53">
                  <c:v>19.II.21</c:v>
                </c:pt>
                <c:pt idx="54">
                  <c:v>20.II.21</c:v>
                </c:pt>
                <c:pt idx="55">
                  <c:v>21.II.21</c:v>
                </c:pt>
                <c:pt idx="56">
                  <c:v>22.II.21</c:v>
                </c:pt>
                <c:pt idx="57">
                  <c:v>23.II.21</c:v>
                </c:pt>
                <c:pt idx="58">
                  <c:v>24.II.21</c:v>
                </c:pt>
                <c:pt idx="59">
                  <c:v>25.II.21</c:v>
                </c:pt>
                <c:pt idx="60">
                  <c:v>26.II.21</c:v>
                </c:pt>
                <c:pt idx="61">
                  <c:v>27.II.21</c:v>
                </c:pt>
                <c:pt idx="62">
                  <c:v>28.II.21</c:v>
                </c:pt>
                <c:pt idx="63">
                  <c:v>1.III.21</c:v>
                </c:pt>
                <c:pt idx="64">
                  <c:v>2.III.21</c:v>
                </c:pt>
                <c:pt idx="65">
                  <c:v>3.III.21</c:v>
                </c:pt>
                <c:pt idx="66">
                  <c:v>4.III.21</c:v>
                </c:pt>
                <c:pt idx="67">
                  <c:v>5.III.21</c:v>
                </c:pt>
                <c:pt idx="68">
                  <c:v>6.III.21</c:v>
                </c:pt>
                <c:pt idx="69">
                  <c:v>7.III.21</c:v>
                </c:pt>
                <c:pt idx="70">
                  <c:v>8.III.21</c:v>
                </c:pt>
                <c:pt idx="71">
                  <c:v>9.III.21</c:v>
                </c:pt>
                <c:pt idx="72">
                  <c:v>10.III.21</c:v>
                </c:pt>
                <c:pt idx="73">
                  <c:v>11.III.21</c:v>
                </c:pt>
                <c:pt idx="74">
                  <c:v>12.III.21</c:v>
                </c:pt>
                <c:pt idx="75">
                  <c:v>13.III.21</c:v>
                </c:pt>
                <c:pt idx="76">
                  <c:v>14.III.21</c:v>
                </c:pt>
                <c:pt idx="77">
                  <c:v>15.III.21</c:v>
                </c:pt>
                <c:pt idx="78">
                  <c:v>16.III.21</c:v>
                </c:pt>
                <c:pt idx="79">
                  <c:v>17.III.21</c:v>
                </c:pt>
                <c:pt idx="80">
                  <c:v>18.III.21</c:v>
                </c:pt>
                <c:pt idx="81">
                  <c:v>19.III.21</c:v>
                </c:pt>
                <c:pt idx="82">
                  <c:v>20.III.21</c:v>
                </c:pt>
                <c:pt idx="83">
                  <c:v>21.III.21</c:v>
                </c:pt>
                <c:pt idx="84">
                  <c:v>22.III.21</c:v>
                </c:pt>
                <c:pt idx="85">
                  <c:v>23.III.21</c:v>
                </c:pt>
                <c:pt idx="86">
                  <c:v>24.III.21</c:v>
                </c:pt>
                <c:pt idx="87">
                  <c:v>25.III.21</c:v>
                </c:pt>
                <c:pt idx="88">
                  <c:v>26.III.21</c:v>
                </c:pt>
                <c:pt idx="89">
                  <c:v>27.III.21</c:v>
                </c:pt>
                <c:pt idx="90">
                  <c:v>28.III.21</c:v>
                </c:pt>
                <c:pt idx="91">
                  <c:v>29.III.21</c:v>
                </c:pt>
                <c:pt idx="92">
                  <c:v>30.III.21</c:v>
                </c:pt>
                <c:pt idx="93">
                  <c:v>31.III.21</c:v>
                </c:pt>
                <c:pt idx="94">
                  <c:v>1.IV.21</c:v>
                </c:pt>
                <c:pt idx="95">
                  <c:v>2.IV.21</c:v>
                </c:pt>
                <c:pt idx="96">
                  <c:v>3.IV.21</c:v>
                </c:pt>
                <c:pt idx="97">
                  <c:v>4.IV.21</c:v>
                </c:pt>
                <c:pt idx="98">
                  <c:v>5.IV.21</c:v>
                </c:pt>
                <c:pt idx="99">
                  <c:v>6.IV.21</c:v>
                </c:pt>
                <c:pt idx="100">
                  <c:v>7.IV.21</c:v>
                </c:pt>
                <c:pt idx="101">
                  <c:v>8.IV.21</c:v>
                </c:pt>
                <c:pt idx="102">
                  <c:v>9.IV.21</c:v>
                </c:pt>
                <c:pt idx="103">
                  <c:v>10.IV.21</c:v>
                </c:pt>
                <c:pt idx="104">
                  <c:v>11.IV.21</c:v>
                </c:pt>
                <c:pt idx="105">
                  <c:v>12.IV.21</c:v>
                </c:pt>
                <c:pt idx="106">
                  <c:v>13.IV.21</c:v>
                </c:pt>
                <c:pt idx="107">
                  <c:v>14.IV.21</c:v>
                </c:pt>
                <c:pt idx="108">
                  <c:v>15.IV.21</c:v>
                </c:pt>
                <c:pt idx="109">
                  <c:v>16.IV.21</c:v>
                </c:pt>
                <c:pt idx="110">
                  <c:v>17.IV.21</c:v>
                </c:pt>
                <c:pt idx="111">
                  <c:v>18.IV.21</c:v>
                </c:pt>
                <c:pt idx="112">
                  <c:v>19.IV.21</c:v>
                </c:pt>
                <c:pt idx="113">
                  <c:v>20.IV.21</c:v>
                </c:pt>
                <c:pt idx="114">
                  <c:v>21.IV.21</c:v>
                </c:pt>
                <c:pt idx="115">
                  <c:v>22.IV.21</c:v>
                </c:pt>
                <c:pt idx="116">
                  <c:v>23.IV.21</c:v>
                </c:pt>
                <c:pt idx="117">
                  <c:v>24.IV.21</c:v>
                </c:pt>
                <c:pt idx="118">
                  <c:v>25.IV.21</c:v>
                </c:pt>
                <c:pt idx="119">
                  <c:v>26.IV.21</c:v>
                </c:pt>
                <c:pt idx="120">
                  <c:v>27.IV.21</c:v>
                </c:pt>
                <c:pt idx="121">
                  <c:v>28.IV.21</c:v>
                </c:pt>
                <c:pt idx="122">
                  <c:v>29.IV.21</c:v>
                </c:pt>
                <c:pt idx="123">
                  <c:v>30.IV.21</c:v>
                </c:pt>
                <c:pt idx="124">
                  <c:v>1.V.21</c:v>
                </c:pt>
                <c:pt idx="125">
                  <c:v>2.V.21</c:v>
                </c:pt>
                <c:pt idx="126">
                  <c:v>3.V.21</c:v>
                </c:pt>
                <c:pt idx="127">
                  <c:v>4.V.21</c:v>
                </c:pt>
                <c:pt idx="128">
                  <c:v>5.V.21</c:v>
                </c:pt>
                <c:pt idx="129">
                  <c:v>6.V.21</c:v>
                </c:pt>
                <c:pt idx="130">
                  <c:v>7.V.21</c:v>
                </c:pt>
                <c:pt idx="131">
                  <c:v>8.V.21</c:v>
                </c:pt>
                <c:pt idx="132">
                  <c:v>9.V.21</c:v>
                </c:pt>
                <c:pt idx="133">
                  <c:v>10.V.21</c:v>
                </c:pt>
                <c:pt idx="134">
                  <c:v>11.V.21</c:v>
                </c:pt>
                <c:pt idx="135">
                  <c:v>12.V.21</c:v>
                </c:pt>
                <c:pt idx="136">
                  <c:v>13.V.21</c:v>
                </c:pt>
                <c:pt idx="137">
                  <c:v>14.V.21</c:v>
                </c:pt>
                <c:pt idx="138">
                  <c:v>15.V.21</c:v>
                </c:pt>
                <c:pt idx="139">
                  <c:v>16.V.21</c:v>
                </c:pt>
                <c:pt idx="140">
                  <c:v>17.V.21</c:v>
                </c:pt>
                <c:pt idx="141">
                  <c:v>18.V.21</c:v>
                </c:pt>
                <c:pt idx="142">
                  <c:v>19.V.21</c:v>
                </c:pt>
                <c:pt idx="143">
                  <c:v>20.V.21</c:v>
                </c:pt>
                <c:pt idx="144">
                  <c:v>21.V.21</c:v>
                </c:pt>
                <c:pt idx="145">
                  <c:v>22.V.21</c:v>
                </c:pt>
                <c:pt idx="146">
                  <c:v>23.V.21</c:v>
                </c:pt>
                <c:pt idx="147">
                  <c:v>24.V.21</c:v>
                </c:pt>
                <c:pt idx="148">
                  <c:v>25.V.21</c:v>
                </c:pt>
                <c:pt idx="149">
                  <c:v>26.V.21</c:v>
                </c:pt>
                <c:pt idx="150">
                  <c:v>27.V.21</c:v>
                </c:pt>
                <c:pt idx="151">
                  <c:v>28.V.21</c:v>
                </c:pt>
                <c:pt idx="152">
                  <c:v>29.V.21</c:v>
                </c:pt>
                <c:pt idx="153">
                  <c:v>30.V.21</c:v>
                </c:pt>
                <c:pt idx="154">
                  <c:v>31.V.21</c:v>
                </c:pt>
                <c:pt idx="155">
                  <c:v>1.VI.21</c:v>
                </c:pt>
                <c:pt idx="156">
                  <c:v>2.VI.21</c:v>
                </c:pt>
                <c:pt idx="157">
                  <c:v>3.VI.21</c:v>
                </c:pt>
                <c:pt idx="158">
                  <c:v>4.VI.21</c:v>
                </c:pt>
                <c:pt idx="159">
                  <c:v>5.VI.21</c:v>
                </c:pt>
                <c:pt idx="160">
                  <c:v>6.VI.21</c:v>
                </c:pt>
                <c:pt idx="161">
                  <c:v>7.VI.21</c:v>
                </c:pt>
                <c:pt idx="162">
                  <c:v>8.VI.21</c:v>
                </c:pt>
                <c:pt idx="163">
                  <c:v>9.VI.21</c:v>
                </c:pt>
                <c:pt idx="164">
                  <c:v>10.VI.21</c:v>
                </c:pt>
                <c:pt idx="165">
                  <c:v>11.VI.21</c:v>
                </c:pt>
                <c:pt idx="166">
                  <c:v>12.VI.21</c:v>
                </c:pt>
                <c:pt idx="167">
                  <c:v>13.VI.21</c:v>
                </c:pt>
                <c:pt idx="168">
                  <c:v>14.VI.21</c:v>
                </c:pt>
                <c:pt idx="169">
                  <c:v>15.VI.21</c:v>
                </c:pt>
                <c:pt idx="170">
                  <c:v>16.VI.21</c:v>
                </c:pt>
                <c:pt idx="171">
                  <c:v>17.VI.21</c:v>
                </c:pt>
                <c:pt idx="172">
                  <c:v>18.VI.21</c:v>
                </c:pt>
                <c:pt idx="173">
                  <c:v>19.VI.21</c:v>
                </c:pt>
                <c:pt idx="174">
                  <c:v>20.VI.21</c:v>
                </c:pt>
                <c:pt idx="175">
                  <c:v>21.VI.21</c:v>
                </c:pt>
                <c:pt idx="176">
                  <c:v>22.VI.21</c:v>
                </c:pt>
                <c:pt idx="177">
                  <c:v>23.VI.21</c:v>
                </c:pt>
                <c:pt idx="178">
                  <c:v>24.VI.21</c:v>
                </c:pt>
                <c:pt idx="179">
                  <c:v>25.VI.21</c:v>
                </c:pt>
                <c:pt idx="180">
                  <c:v>26.VI.21</c:v>
                </c:pt>
                <c:pt idx="181">
                  <c:v>27.VI.21</c:v>
                </c:pt>
                <c:pt idx="182">
                  <c:v>28.VI.21</c:v>
                </c:pt>
                <c:pt idx="183">
                  <c:v>29.VI.21</c:v>
                </c:pt>
                <c:pt idx="184">
                  <c:v>30.VI.21</c:v>
                </c:pt>
                <c:pt idx="185">
                  <c:v>1.VII.21</c:v>
                </c:pt>
                <c:pt idx="186">
                  <c:v>2.VII.21</c:v>
                </c:pt>
                <c:pt idx="187">
                  <c:v>3.VII.21</c:v>
                </c:pt>
                <c:pt idx="188">
                  <c:v>4.VII.21</c:v>
                </c:pt>
                <c:pt idx="189">
                  <c:v>5.VII.21</c:v>
                </c:pt>
                <c:pt idx="190">
                  <c:v>6.VII.21</c:v>
                </c:pt>
                <c:pt idx="191">
                  <c:v>7.VII.21</c:v>
                </c:pt>
                <c:pt idx="192">
                  <c:v>8.VII.21</c:v>
                </c:pt>
                <c:pt idx="193">
                  <c:v>9.VII.21</c:v>
                </c:pt>
                <c:pt idx="194">
                  <c:v>10.VII.21</c:v>
                </c:pt>
                <c:pt idx="195">
                  <c:v>11.VII.21</c:v>
                </c:pt>
                <c:pt idx="196">
                  <c:v>12.VII.21</c:v>
                </c:pt>
                <c:pt idx="197">
                  <c:v>13.VII.21</c:v>
                </c:pt>
                <c:pt idx="198">
                  <c:v>14.VII.21</c:v>
                </c:pt>
                <c:pt idx="199">
                  <c:v>15.VII.21</c:v>
                </c:pt>
                <c:pt idx="200">
                  <c:v>16.VII.21</c:v>
                </c:pt>
                <c:pt idx="201">
                  <c:v>17.VII.21</c:v>
                </c:pt>
                <c:pt idx="202">
                  <c:v>18.VII.21</c:v>
                </c:pt>
                <c:pt idx="203">
                  <c:v>19.VII.21</c:v>
                </c:pt>
                <c:pt idx="204">
                  <c:v>20.VII.21</c:v>
                </c:pt>
                <c:pt idx="205">
                  <c:v>21.VII.21</c:v>
                </c:pt>
                <c:pt idx="206">
                  <c:v>22.VII.21</c:v>
                </c:pt>
                <c:pt idx="207">
                  <c:v>23.VII.21</c:v>
                </c:pt>
                <c:pt idx="208">
                  <c:v>24.VII.21</c:v>
                </c:pt>
                <c:pt idx="209">
                  <c:v>25.VII.21</c:v>
                </c:pt>
                <c:pt idx="210">
                  <c:v>26.VII.21</c:v>
                </c:pt>
                <c:pt idx="211">
                  <c:v>27.VII.21</c:v>
                </c:pt>
                <c:pt idx="212">
                  <c:v>28.VII.21</c:v>
                </c:pt>
                <c:pt idx="213">
                  <c:v>29.VII.21</c:v>
                </c:pt>
                <c:pt idx="214">
                  <c:v>30.VII.21</c:v>
                </c:pt>
                <c:pt idx="215">
                  <c:v>31.VII.21</c:v>
                </c:pt>
                <c:pt idx="216">
                  <c:v>1.VIII.21</c:v>
                </c:pt>
                <c:pt idx="217">
                  <c:v>2.VIII.21</c:v>
                </c:pt>
                <c:pt idx="218">
                  <c:v>3.VIII.21</c:v>
                </c:pt>
                <c:pt idx="219">
                  <c:v>4.VIII.21</c:v>
                </c:pt>
                <c:pt idx="220">
                  <c:v>5.VIII.21</c:v>
                </c:pt>
                <c:pt idx="221">
                  <c:v>6.VIII.21</c:v>
                </c:pt>
                <c:pt idx="222">
                  <c:v>7.VIII.21</c:v>
                </c:pt>
                <c:pt idx="223">
                  <c:v>8.VIII.21</c:v>
                </c:pt>
                <c:pt idx="224">
                  <c:v>9.VIII.21</c:v>
                </c:pt>
                <c:pt idx="225">
                  <c:v>10.VIII.21</c:v>
                </c:pt>
                <c:pt idx="226">
                  <c:v>11.VIII.21</c:v>
                </c:pt>
                <c:pt idx="227">
                  <c:v>12.VIII.21</c:v>
                </c:pt>
                <c:pt idx="228">
                  <c:v>13.VIII.21</c:v>
                </c:pt>
                <c:pt idx="229">
                  <c:v>14.VIII.21</c:v>
                </c:pt>
                <c:pt idx="230">
                  <c:v>15.VIII.21</c:v>
                </c:pt>
                <c:pt idx="231">
                  <c:v>16.VIII.21</c:v>
                </c:pt>
                <c:pt idx="232">
                  <c:v>17.VIII.21</c:v>
                </c:pt>
                <c:pt idx="233">
                  <c:v>18.VIII.21</c:v>
                </c:pt>
                <c:pt idx="234">
                  <c:v>19.VIII.21</c:v>
                </c:pt>
                <c:pt idx="235">
                  <c:v>20.VIII.21</c:v>
                </c:pt>
                <c:pt idx="236">
                  <c:v>21.VIII.21</c:v>
                </c:pt>
                <c:pt idx="237">
                  <c:v>22.VIII.21</c:v>
                </c:pt>
                <c:pt idx="238">
                  <c:v>23.VIII.21</c:v>
                </c:pt>
                <c:pt idx="239">
                  <c:v>24.VIII.21</c:v>
                </c:pt>
                <c:pt idx="240">
                  <c:v>25.VIII.21</c:v>
                </c:pt>
                <c:pt idx="241">
                  <c:v>26.VIII.21</c:v>
                </c:pt>
                <c:pt idx="242">
                  <c:v>27.VIII.21</c:v>
                </c:pt>
                <c:pt idx="243">
                  <c:v>28.VIII.21</c:v>
                </c:pt>
                <c:pt idx="244">
                  <c:v>29.VIII.21</c:v>
                </c:pt>
                <c:pt idx="245">
                  <c:v>30.VIII.21</c:v>
                </c:pt>
                <c:pt idx="246">
                  <c:v>31.VIII.21</c:v>
                </c:pt>
                <c:pt idx="247">
                  <c:v>1.IX.21</c:v>
                </c:pt>
                <c:pt idx="248">
                  <c:v>2.IX.21</c:v>
                </c:pt>
                <c:pt idx="249">
                  <c:v>3.IX.21</c:v>
                </c:pt>
                <c:pt idx="250">
                  <c:v>4.IX.21</c:v>
                </c:pt>
                <c:pt idx="251">
                  <c:v>5.IX.21</c:v>
                </c:pt>
                <c:pt idx="252">
                  <c:v>6.IX.21</c:v>
                </c:pt>
                <c:pt idx="253">
                  <c:v>7.IX.21</c:v>
                </c:pt>
                <c:pt idx="254">
                  <c:v>8.IX.21</c:v>
                </c:pt>
                <c:pt idx="255">
                  <c:v>9.IX.21</c:v>
                </c:pt>
                <c:pt idx="256">
                  <c:v>10.IX.21</c:v>
                </c:pt>
                <c:pt idx="257">
                  <c:v>11.IX.21</c:v>
                </c:pt>
                <c:pt idx="258">
                  <c:v>12.IX.21</c:v>
                </c:pt>
                <c:pt idx="259">
                  <c:v>13.IX.21</c:v>
                </c:pt>
                <c:pt idx="260">
                  <c:v>14.IX.21</c:v>
                </c:pt>
                <c:pt idx="261">
                  <c:v>15.IX.21</c:v>
                </c:pt>
                <c:pt idx="262">
                  <c:v>16.IX.21</c:v>
                </c:pt>
                <c:pt idx="263">
                  <c:v>17.IX.21</c:v>
                </c:pt>
                <c:pt idx="264">
                  <c:v>18.IX.21</c:v>
                </c:pt>
                <c:pt idx="265">
                  <c:v>19.IX.21</c:v>
                </c:pt>
                <c:pt idx="266">
                  <c:v>20.IX.21</c:v>
                </c:pt>
                <c:pt idx="267">
                  <c:v>21.IX.21</c:v>
                </c:pt>
                <c:pt idx="268">
                  <c:v>22.IX.21</c:v>
                </c:pt>
                <c:pt idx="269">
                  <c:v>23.IX.21</c:v>
                </c:pt>
                <c:pt idx="270">
                  <c:v>24.IX.21</c:v>
                </c:pt>
                <c:pt idx="271">
                  <c:v>25.IX.21</c:v>
                </c:pt>
                <c:pt idx="272">
                  <c:v>26.IX.21</c:v>
                </c:pt>
                <c:pt idx="273">
                  <c:v>27.IX.21</c:v>
                </c:pt>
                <c:pt idx="274">
                  <c:v>28.IX.21</c:v>
                </c:pt>
                <c:pt idx="275">
                  <c:v>29.IX.21</c:v>
                </c:pt>
                <c:pt idx="276">
                  <c:v>30.IX.21</c:v>
                </c:pt>
                <c:pt idx="277">
                  <c:v>1.X.21</c:v>
                </c:pt>
                <c:pt idx="278">
                  <c:v>2.X.21</c:v>
                </c:pt>
                <c:pt idx="279">
                  <c:v>3.X.21</c:v>
                </c:pt>
                <c:pt idx="280">
                  <c:v>4.X.21</c:v>
                </c:pt>
                <c:pt idx="281">
                  <c:v>5.X.21</c:v>
                </c:pt>
                <c:pt idx="282">
                  <c:v>6.X.21</c:v>
                </c:pt>
                <c:pt idx="283">
                  <c:v>7.X.21</c:v>
                </c:pt>
                <c:pt idx="284">
                  <c:v>8.X.21</c:v>
                </c:pt>
                <c:pt idx="285">
                  <c:v>9.X.21</c:v>
                </c:pt>
                <c:pt idx="286">
                  <c:v>10.X.21</c:v>
                </c:pt>
                <c:pt idx="287">
                  <c:v>11.X.21</c:v>
                </c:pt>
                <c:pt idx="288">
                  <c:v>12.X.21</c:v>
                </c:pt>
                <c:pt idx="289">
                  <c:v>13.X.21</c:v>
                </c:pt>
                <c:pt idx="290">
                  <c:v>14.X.21</c:v>
                </c:pt>
                <c:pt idx="291">
                  <c:v>15.X.21</c:v>
                </c:pt>
                <c:pt idx="292">
                  <c:v>16.X.21</c:v>
                </c:pt>
                <c:pt idx="293">
                  <c:v>17.X.21</c:v>
                </c:pt>
                <c:pt idx="294">
                  <c:v>18.X.21</c:v>
                </c:pt>
                <c:pt idx="295">
                  <c:v>19.X.21</c:v>
                </c:pt>
                <c:pt idx="296">
                  <c:v>20.X.21</c:v>
                </c:pt>
                <c:pt idx="297">
                  <c:v>21.X.21</c:v>
                </c:pt>
                <c:pt idx="298">
                  <c:v>22.X.21</c:v>
                </c:pt>
                <c:pt idx="299">
                  <c:v>23.X.21</c:v>
                </c:pt>
                <c:pt idx="300">
                  <c:v>24.X.21</c:v>
                </c:pt>
                <c:pt idx="301">
                  <c:v>25.X.21</c:v>
                </c:pt>
                <c:pt idx="302">
                  <c:v>26.X.21</c:v>
                </c:pt>
                <c:pt idx="303">
                  <c:v>27.X.21</c:v>
                </c:pt>
                <c:pt idx="304">
                  <c:v>28.X.21</c:v>
                </c:pt>
                <c:pt idx="305">
                  <c:v>29.X.21</c:v>
                </c:pt>
                <c:pt idx="306">
                  <c:v>30.X.21</c:v>
                </c:pt>
                <c:pt idx="307">
                  <c:v>31.X.21</c:v>
                </c:pt>
                <c:pt idx="308">
                  <c:v>1.XI.21</c:v>
                </c:pt>
                <c:pt idx="309">
                  <c:v>2.XI.21</c:v>
                </c:pt>
                <c:pt idx="310">
                  <c:v>3.XI.21</c:v>
                </c:pt>
                <c:pt idx="311">
                  <c:v>4.XI.21</c:v>
                </c:pt>
                <c:pt idx="312">
                  <c:v>5.XI.21</c:v>
                </c:pt>
                <c:pt idx="313">
                  <c:v>6.XI.21</c:v>
                </c:pt>
                <c:pt idx="314">
                  <c:v>7.XI.21</c:v>
                </c:pt>
                <c:pt idx="315">
                  <c:v>8.XI.21</c:v>
                </c:pt>
                <c:pt idx="316">
                  <c:v>9.XI.21</c:v>
                </c:pt>
                <c:pt idx="317">
                  <c:v>10.XI.21</c:v>
                </c:pt>
                <c:pt idx="318">
                  <c:v>11.XI.21</c:v>
                </c:pt>
                <c:pt idx="319">
                  <c:v>12.XI.21</c:v>
                </c:pt>
                <c:pt idx="320">
                  <c:v>13.XI.21</c:v>
                </c:pt>
                <c:pt idx="321">
                  <c:v>14.XI.21</c:v>
                </c:pt>
                <c:pt idx="322">
                  <c:v>15.XI.21</c:v>
                </c:pt>
                <c:pt idx="323">
                  <c:v>16.XI.21</c:v>
                </c:pt>
                <c:pt idx="324">
                  <c:v>17.XI.21</c:v>
                </c:pt>
                <c:pt idx="325">
                  <c:v>18.XI.21</c:v>
                </c:pt>
                <c:pt idx="326">
                  <c:v>19.XI.21</c:v>
                </c:pt>
                <c:pt idx="327">
                  <c:v>20.XI.21</c:v>
                </c:pt>
                <c:pt idx="328">
                  <c:v>21.XI.21</c:v>
                </c:pt>
                <c:pt idx="329">
                  <c:v>22.XI.21</c:v>
                </c:pt>
                <c:pt idx="330">
                  <c:v>23.XI.21</c:v>
                </c:pt>
                <c:pt idx="331">
                  <c:v>24.XI.21</c:v>
                </c:pt>
                <c:pt idx="332">
                  <c:v>25.XI.21</c:v>
                </c:pt>
                <c:pt idx="333">
                  <c:v>26.XI.21</c:v>
                </c:pt>
                <c:pt idx="334">
                  <c:v>27.XI.21</c:v>
                </c:pt>
                <c:pt idx="335">
                  <c:v>28.XI.21</c:v>
                </c:pt>
                <c:pt idx="336">
                  <c:v>29.XI.21</c:v>
                </c:pt>
                <c:pt idx="337">
                  <c:v>30.XI.21</c:v>
                </c:pt>
                <c:pt idx="338">
                  <c:v>1.XII.21</c:v>
                </c:pt>
                <c:pt idx="339">
                  <c:v>2.XII.21</c:v>
                </c:pt>
                <c:pt idx="340">
                  <c:v>3.XII.21</c:v>
                </c:pt>
                <c:pt idx="341">
                  <c:v>4.XII.21</c:v>
                </c:pt>
                <c:pt idx="342">
                  <c:v>5.XII.21</c:v>
                </c:pt>
                <c:pt idx="343">
                  <c:v>6.XII.21</c:v>
                </c:pt>
                <c:pt idx="344">
                  <c:v>7.XII.21</c:v>
                </c:pt>
                <c:pt idx="345">
                  <c:v>8.XII.21</c:v>
                </c:pt>
                <c:pt idx="346">
                  <c:v>9.XII.21</c:v>
                </c:pt>
                <c:pt idx="347">
                  <c:v>10.XII.21</c:v>
                </c:pt>
                <c:pt idx="348">
                  <c:v>11.XII.21</c:v>
                </c:pt>
                <c:pt idx="349">
                  <c:v>12.XII.21</c:v>
                </c:pt>
                <c:pt idx="350">
                  <c:v>13.XII.21</c:v>
                </c:pt>
                <c:pt idx="351">
                  <c:v>14.XII.21</c:v>
                </c:pt>
                <c:pt idx="352">
                  <c:v>15.XII.21</c:v>
                </c:pt>
                <c:pt idx="353">
                  <c:v>16.XII.21</c:v>
                </c:pt>
                <c:pt idx="354">
                  <c:v>17.XII.21</c:v>
                </c:pt>
                <c:pt idx="355">
                  <c:v>18.XII.21</c:v>
                </c:pt>
                <c:pt idx="356">
                  <c:v>19.XII.21</c:v>
                </c:pt>
                <c:pt idx="357">
                  <c:v>20.XII.21</c:v>
                </c:pt>
                <c:pt idx="358">
                  <c:v>21.XII.21</c:v>
                </c:pt>
                <c:pt idx="359">
                  <c:v>22.XII.21</c:v>
                </c:pt>
                <c:pt idx="360">
                  <c:v>23.XII.21</c:v>
                </c:pt>
                <c:pt idx="361">
                  <c:v>27.XII.21</c:v>
                </c:pt>
                <c:pt idx="362">
                  <c:v>28.XII.21</c:v>
                </c:pt>
                <c:pt idx="363">
                  <c:v>29.XII.21</c:v>
                </c:pt>
                <c:pt idx="364">
                  <c:v>30.XII.21</c:v>
                </c:pt>
                <c:pt idx="365">
                  <c:v>31.XII.21</c:v>
                </c:pt>
                <c:pt idx="366">
                  <c:v>2.I.22</c:v>
                </c:pt>
                <c:pt idx="367">
                  <c:v>3.I.22</c:v>
                </c:pt>
                <c:pt idx="368">
                  <c:v>4.I.22</c:v>
                </c:pt>
                <c:pt idx="369">
                  <c:v>5.I.22</c:v>
                </c:pt>
                <c:pt idx="370">
                  <c:v>6.I.22</c:v>
                </c:pt>
                <c:pt idx="371">
                  <c:v>7.I.22</c:v>
                </c:pt>
                <c:pt idx="372">
                  <c:v>8.I.22</c:v>
                </c:pt>
                <c:pt idx="373">
                  <c:v>9.I.22</c:v>
                </c:pt>
                <c:pt idx="374">
                  <c:v>10.I.22</c:v>
                </c:pt>
                <c:pt idx="375">
                  <c:v>11.I.22</c:v>
                </c:pt>
                <c:pt idx="376">
                  <c:v>12.I.22</c:v>
                </c:pt>
                <c:pt idx="377">
                  <c:v>13.I.22</c:v>
                </c:pt>
                <c:pt idx="378">
                  <c:v>14.I.22</c:v>
                </c:pt>
                <c:pt idx="379">
                  <c:v>15.I.22</c:v>
                </c:pt>
                <c:pt idx="380">
                  <c:v>16.I.22</c:v>
                </c:pt>
                <c:pt idx="381">
                  <c:v>17.I.22</c:v>
                </c:pt>
                <c:pt idx="382">
                  <c:v>18.I.22</c:v>
                </c:pt>
                <c:pt idx="383">
                  <c:v>19.I.22</c:v>
                </c:pt>
                <c:pt idx="384">
                  <c:v>20.I.22</c:v>
                </c:pt>
                <c:pt idx="385">
                  <c:v>21.I.22</c:v>
                </c:pt>
              </c:strCache>
            </c:strRef>
          </c:cat>
          <c:val>
            <c:numRef>
              <c:f>List1!$J$4:$OE$4</c:f>
              <c:numCache>
                <c:formatCode>General</c:formatCode>
                <c:ptCount val="386"/>
                <c:pt idx="0">
                  <c:v>641</c:v>
                </c:pt>
                <c:pt idx="1">
                  <c:v>1249</c:v>
                </c:pt>
                <c:pt idx="2">
                  <c:v>1874</c:v>
                </c:pt>
                <c:pt idx="3">
                  <c:v>2047</c:v>
                </c:pt>
                <c:pt idx="4">
                  <c:v>2076</c:v>
                </c:pt>
                <c:pt idx="5">
                  <c:v>2364</c:v>
                </c:pt>
                <c:pt idx="6">
                  <c:v>2575</c:v>
                </c:pt>
                <c:pt idx="7">
                  <c:v>3202</c:v>
                </c:pt>
                <c:pt idx="8">
                  <c:v>4165</c:v>
                </c:pt>
                <c:pt idx="9">
                  <c:v>5583</c:v>
                </c:pt>
                <c:pt idx="10">
                  <c:v>7184</c:v>
                </c:pt>
                <c:pt idx="11">
                  <c:v>9031</c:v>
                </c:pt>
                <c:pt idx="12">
                  <c:v>9339</c:v>
                </c:pt>
                <c:pt idx="13">
                  <c:v>9648</c:v>
                </c:pt>
                <c:pt idx="14">
                  <c:v>11515</c:v>
                </c:pt>
                <c:pt idx="15">
                  <c:v>13797</c:v>
                </c:pt>
                <c:pt idx="16">
                  <c:v>15840</c:v>
                </c:pt>
                <c:pt idx="17">
                  <c:v>17729</c:v>
                </c:pt>
                <c:pt idx="18">
                  <c:v>19341</c:v>
                </c:pt>
                <c:pt idx="19">
                  <c:v>19561</c:v>
                </c:pt>
                <c:pt idx="20">
                  <c:v>19657</c:v>
                </c:pt>
                <c:pt idx="21">
                  <c:v>20832</c:v>
                </c:pt>
                <c:pt idx="22">
                  <c:v>21765</c:v>
                </c:pt>
                <c:pt idx="23">
                  <c:v>22709</c:v>
                </c:pt>
                <c:pt idx="24">
                  <c:v>23567</c:v>
                </c:pt>
                <c:pt idx="25">
                  <c:v>24319</c:v>
                </c:pt>
                <c:pt idx="26">
                  <c:v>24383</c:v>
                </c:pt>
                <c:pt idx="27">
                  <c:v>24428</c:v>
                </c:pt>
                <c:pt idx="28">
                  <c:v>24879</c:v>
                </c:pt>
                <c:pt idx="29">
                  <c:v>25332</c:v>
                </c:pt>
                <c:pt idx="30">
                  <c:v>25729</c:v>
                </c:pt>
                <c:pt idx="31">
                  <c:v>26132</c:v>
                </c:pt>
                <c:pt idx="32">
                  <c:v>26516</c:v>
                </c:pt>
                <c:pt idx="33">
                  <c:v>26540</c:v>
                </c:pt>
                <c:pt idx="34">
                  <c:v>26572</c:v>
                </c:pt>
                <c:pt idx="35">
                  <c:v>26864</c:v>
                </c:pt>
                <c:pt idx="36">
                  <c:v>27154</c:v>
                </c:pt>
                <c:pt idx="37">
                  <c:v>27387</c:v>
                </c:pt>
                <c:pt idx="38">
                  <c:v>27571</c:v>
                </c:pt>
                <c:pt idx="39">
                  <c:v>27806</c:v>
                </c:pt>
                <c:pt idx="40">
                  <c:v>27815</c:v>
                </c:pt>
                <c:pt idx="41">
                  <c:v>27833</c:v>
                </c:pt>
                <c:pt idx="42">
                  <c:v>28070</c:v>
                </c:pt>
                <c:pt idx="43">
                  <c:v>28265</c:v>
                </c:pt>
                <c:pt idx="44">
                  <c:v>28532</c:v>
                </c:pt>
                <c:pt idx="45">
                  <c:v>28883</c:v>
                </c:pt>
                <c:pt idx="46">
                  <c:v>29275</c:v>
                </c:pt>
                <c:pt idx="47">
                  <c:v>29387</c:v>
                </c:pt>
                <c:pt idx="48">
                  <c:v>29453</c:v>
                </c:pt>
                <c:pt idx="49">
                  <c:v>29869</c:v>
                </c:pt>
                <c:pt idx="50">
                  <c:v>30375</c:v>
                </c:pt>
                <c:pt idx="51">
                  <c:v>30920</c:v>
                </c:pt>
                <c:pt idx="52">
                  <c:v>31478</c:v>
                </c:pt>
                <c:pt idx="53">
                  <c:v>32132</c:v>
                </c:pt>
                <c:pt idx="54">
                  <c:v>32358</c:v>
                </c:pt>
                <c:pt idx="55">
                  <c:v>32415</c:v>
                </c:pt>
                <c:pt idx="56">
                  <c:v>33100</c:v>
                </c:pt>
                <c:pt idx="57">
                  <c:v>34102</c:v>
                </c:pt>
                <c:pt idx="58">
                  <c:v>35179</c:v>
                </c:pt>
                <c:pt idx="59">
                  <c:v>36331</c:v>
                </c:pt>
                <c:pt idx="60">
                  <c:v>37405</c:v>
                </c:pt>
                <c:pt idx="61">
                  <c:v>37564</c:v>
                </c:pt>
                <c:pt idx="62">
                  <c:v>37694</c:v>
                </c:pt>
                <c:pt idx="63">
                  <c:v>38806</c:v>
                </c:pt>
                <c:pt idx="64">
                  <c:v>40016</c:v>
                </c:pt>
                <c:pt idx="65">
                  <c:v>41128</c:v>
                </c:pt>
                <c:pt idx="66">
                  <c:v>42129</c:v>
                </c:pt>
                <c:pt idx="67">
                  <c:v>43316</c:v>
                </c:pt>
                <c:pt idx="68">
                  <c:v>43605</c:v>
                </c:pt>
                <c:pt idx="69">
                  <c:v>43820</c:v>
                </c:pt>
                <c:pt idx="70">
                  <c:v>44663</c:v>
                </c:pt>
                <c:pt idx="71">
                  <c:v>45486</c:v>
                </c:pt>
                <c:pt idx="72">
                  <c:v>46384</c:v>
                </c:pt>
                <c:pt idx="73">
                  <c:v>47582</c:v>
                </c:pt>
                <c:pt idx="74">
                  <c:v>48695</c:v>
                </c:pt>
                <c:pt idx="75">
                  <c:v>48979</c:v>
                </c:pt>
                <c:pt idx="76">
                  <c:v>49220</c:v>
                </c:pt>
                <c:pt idx="77">
                  <c:v>49852</c:v>
                </c:pt>
                <c:pt idx="78">
                  <c:v>50781</c:v>
                </c:pt>
                <c:pt idx="79">
                  <c:v>51720</c:v>
                </c:pt>
                <c:pt idx="80">
                  <c:v>52498</c:v>
                </c:pt>
                <c:pt idx="81">
                  <c:v>53455</c:v>
                </c:pt>
                <c:pt idx="82">
                  <c:v>53855</c:v>
                </c:pt>
                <c:pt idx="83">
                  <c:v>54061</c:v>
                </c:pt>
                <c:pt idx="84">
                  <c:v>54510</c:v>
                </c:pt>
                <c:pt idx="85">
                  <c:v>55004</c:v>
                </c:pt>
                <c:pt idx="86">
                  <c:v>55421</c:v>
                </c:pt>
                <c:pt idx="87">
                  <c:v>55966</c:v>
                </c:pt>
                <c:pt idx="88">
                  <c:v>56544</c:v>
                </c:pt>
                <c:pt idx="89">
                  <c:v>56704</c:v>
                </c:pt>
                <c:pt idx="90">
                  <c:v>56840</c:v>
                </c:pt>
                <c:pt idx="91">
                  <c:v>57151</c:v>
                </c:pt>
                <c:pt idx="92">
                  <c:v>57573</c:v>
                </c:pt>
                <c:pt idx="93">
                  <c:v>58068</c:v>
                </c:pt>
                <c:pt idx="94">
                  <c:v>58498</c:v>
                </c:pt>
                <c:pt idx="95">
                  <c:v>58585</c:v>
                </c:pt>
                <c:pt idx="96">
                  <c:v>58643</c:v>
                </c:pt>
                <c:pt idx="97">
                  <c:v>58681</c:v>
                </c:pt>
                <c:pt idx="98">
                  <c:v>58710</c:v>
                </c:pt>
                <c:pt idx="99">
                  <c:v>58940</c:v>
                </c:pt>
                <c:pt idx="100">
                  <c:v>59203</c:v>
                </c:pt>
                <c:pt idx="101">
                  <c:v>59743</c:v>
                </c:pt>
                <c:pt idx="102">
                  <c:v>60246</c:v>
                </c:pt>
                <c:pt idx="103">
                  <c:v>60419</c:v>
                </c:pt>
                <c:pt idx="104">
                  <c:v>60535</c:v>
                </c:pt>
                <c:pt idx="105">
                  <c:v>60913</c:v>
                </c:pt>
                <c:pt idx="106">
                  <c:v>61226</c:v>
                </c:pt>
                <c:pt idx="107">
                  <c:v>61612</c:v>
                </c:pt>
                <c:pt idx="108">
                  <c:v>62163</c:v>
                </c:pt>
                <c:pt idx="109">
                  <c:v>62812</c:v>
                </c:pt>
                <c:pt idx="110">
                  <c:v>62989</c:v>
                </c:pt>
                <c:pt idx="111">
                  <c:v>63183</c:v>
                </c:pt>
                <c:pt idx="112">
                  <c:v>63640</c:v>
                </c:pt>
                <c:pt idx="113">
                  <c:v>64066</c:v>
                </c:pt>
                <c:pt idx="114">
                  <c:v>64566</c:v>
                </c:pt>
                <c:pt idx="115">
                  <c:v>65167</c:v>
                </c:pt>
                <c:pt idx="116">
                  <c:v>65815</c:v>
                </c:pt>
                <c:pt idx="117">
                  <c:v>66000</c:v>
                </c:pt>
                <c:pt idx="118">
                  <c:v>66151</c:v>
                </c:pt>
                <c:pt idx="119">
                  <c:v>66634</c:v>
                </c:pt>
                <c:pt idx="120">
                  <c:v>67057</c:v>
                </c:pt>
                <c:pt idx="121">
                  <c:v>67625</c:v>
                </c:pt>
                <c:pt idx="122">
                  <c:v>68212</c:v>
                </c:pt>
                <c:pt idx="123">
                  <c:v>68830</c:v>
                </c:pt>
                <c:pt idx="124">
                  <c:v>68984</c:v>
                </c:pt>
                <c:pt idx="125">
                  <c:v>69140</c:v>
                </c:pt>
                <c:pt idx="126">
                  <c:v>69596</c:v>
                </c:pt>
                <c:pt idx="127">
                  <c:v>70055</c:v>
                </c:pt>
                <c:pt idx="128">
                  <c:v>70582</c:v>
                </c:pt>
                <c:pt idx="129">
                  <c:v>71114</c:v>
                </c:pt>
                <c:pt idx="130">
                  <c:v>71677</c:v>
                </c:pt>
                <c:pt idx="131">
                  <c:v>71900</c:v>
                </c:pt>
                <c:pt idx="132">
                  <c:v>72072</c:v>
                </c:pt>
                <c:pt idx="133">
                  <c:v>72549</c:v>
                </c:pt>
                <c:pt idx="134">
                  <c:v>72982</c:v>
                </c:pt>
                <c:pt idx="135">
                  <c:v>73459</c:v>
                </c:pt>
                <c:pt idx="136">
                  <c:v>74008</c:v>
                </c:pt>
                <c:pt idx="137">
                  <c:v>74520</c:v>
                </c:pt>
                <c:pt idx="138">
                  <c:v>74730</c:v>
                </c:pt>
                <c:pt idx="139">
                  <c:v>74882</c:v>
                </c:pt>
                <c:pt idx="140">
                  <c:v>75272</c:v>
                </c:pt>
                <c:pt idx="141">
                  <c:v>75690</c:v>
                </c:pt>
                <c:pt idx="142">
                  <c:v>76155</c:v>
                </c:pt>
                <c:pt idx="143">
                  <c:v>76600</c:v>
                </c:pt>
                <c:pt idx="144">
                  <c:v>77057</c:v>
                </c:pt>
                <c:pt idx="145">
                  <c:v>77235</c:v>
                </c:pt>
                <c:pt idx="146">
                  <c:v>77351</c:v>
                </c:pt>
                <c:pt idx="147">
                  <c:v>77640</c:v>
                </c:pt>
                <c:pt idx="148">
                  <c:v>77970</c:v>
                </c:pt>
                <c:pt idx="149">
                  <c:v>78382</c:v>
                </c:pt>
                <c:pt idx="150">
                  <c:v>78758</c:v>
                </c:pt>
                <c:pt idx="151">
                  <c:v>79197</c:v>
                </c:pt>
                <c:pt idx="152">
                  <c:v>79385</c:v>
                </c:pt>
                <c:pt idx="153">
                  <c:v>79553</c:v>
                </c:pt>
                <c:pt idx="154">
                  <c:v>79896</c:v>
                </c:pt>
                <c:pt idx="155">
                  <c:v>80268</c:v>
                </c:pt>
                <c:pt idx="156">
                  <c:v>80720</c:v>
                </c:pt>
                <c:pt idx="157">
                  <c:v>81138</c:v>
                </c:pt>
                <c:pt idx="158">
                  <c:v>81605</c:v>
                </c:pt>
                <c:pt idx="159">
                  <c:v>81867</c:v>
                </c:pt>
                <c:pt idx="160">
                  <c:v>82112</c:v>
                </c:pt>
                <c:pt idx="161">
                  <c:v>82591</c:v>
                </c:pt>
                <c:pt idx="162">
                  <c:v>83139</c:v>
                </c:pt>
                <c:pt idx="163">
                  <c:v>83630</c:v>
                </c:pt>
                <c:pt idx="164">
                  <c:v>84064</c:v>
                </c:pt>
                <c:pt idx="165">
                  <c:v>84528</c:v>
                </c:pt>
                <c:pt idx="166">
                  <c:v>84819</c:v>
                </c:pt>
                <c:pt idx="167">
                  <c:v>85047</c:v>
                </c:pt>
                <c:pt idx="168">
                  <c:v>85404</c:v>
                </c:pt>
                <c:pt idx="169">
                  <c:v>85840</c:v>
                </c:pt>
                <c:pt idx="170">
                  <c:v>86230</c:v>
                </c:pt>
                <c:pt idx="171">
                  <c:v>86599</c:v>
                </c:pt>
                <c:pt idx="172">
                  <c:v>86981</c:v>
                </c:pt>
                <c:pt idx="173">
                  <c:v>87170</c:v>
                </c:pt>
                <c:pt idx="174">
                  <c:v>87312</c:v>
                </c:pt>
                <c:pt idx="175">
                  <c:v>87611</c:v>
                </c:pt>
                <c:pt idx="176">
                  <c:v>87930</c:v>
                </c:pt>
                <c:pt idx="177">
                  <c:v>88187</c:v>
                </c:pt>
                <c:pt idx="178">
                  <c:v>88477</c:v>
                </c:pt>
                <c:pt idx="179">
                  <c:v>88737</c:v>
                </c:pt>
                <c:pt idx="180">
                  <c:v>88889</c:v>
                </c:pt>
                <c:pt idx="181">
                  <c:v>89002</c:v>
                </c:pt>
                <c:pt idx="182">
                  <c:v>89275</c:v>
                </c:pt>
                <c:pt idx="183">
                  <c:v>89524</c:v>
                </c:pt>
                <c:pt idx="184">
                  <c:v>89768</c:v>
                </c:pt>
                <c:pt idx="185">
                  <c:v>89947</c:v>
                </c:pt>
                <c:pt idx="186">
                  <c:v>90185</c:v>
                </c:pt>
                <c:pt idx="187">
                  <c:v>90237</c:v>
                </c:pt>
                <c:pt idx="188">
                  <c:v>90297</c:v>
                </c:pt>
                <c:pt idx="189">
                  <c:v>90355</c:v>
                </c:pt>
                <c:pt idx="190">
                  <c:v>90415</c:v>
                </c:pt>
                <c:pt idx="191">
                  <c:v>90624</c:v>
                </c:pt>
                <c:pt idx="192">
                  <c:v>90842</c:v>
                </c:pt>
                <c:pt idx="193">
                  <c:v>91067</c:v>
                </c:pt>
                <c:pt idx="194">
                  <c:v>91160</c:v>
                </c:pt>
                <c:pt idx="195">
                  <c:v>91218</c:v>
                </c:pt>
                <c:pt idx="196">
                  <c:v>91454</c:v>
                </c:pt>
                <c:pt idx="197">
                  <c:v>91674</c:v>
                </c:pt>
                <c:pt idx="198">
                  <c:v>91915</c:v>
                </c:pt>
                <c:pt idx="199">
                  <c:v>92163</c:v>
                </c:pt>
                <c:pt idx="200">
                  <c:v>92415</c:v>
                </c:pt>
                <c:pt idx="201">
                  <c:v>92525</c:v>
                </c:pt>
                <c:pt idx="202">
                  <c:v>92595</c:v>
                </c:pt>
                <c:pt idx="203">
                  <c:v>92799</c:v>
                </c:pt>
                <c:pt idx="204">
                  <c:v>92960</c:v>
                </c:pt>
                <c:pt idx="205">
                  <c:v>93180</c:v>
                </c:pt>
                <c:pt idx="206">
                  <c:v>93361</c:v>
                </c:pt>
                <c:pt idx="207">
                  <c:v>93574</c:v>
                </c:pt>
                <c:pt idx="208">
                  <c:v>93636</c:v>
                </c:pt>
                <c:pt idx="209">
                  <c:v>93691</c:v>
                </c:pt>
                <c:pt idx="210">
                  <c:v>93872</c:v>
                </c:pt>
                <c:pt idx="211">
                  <c:v>94071</c:v>
                </c:pt>
                <c:pt idx="212">
                  <c:v>94248</c:v>
                </c:pt>
                <c:pt idx="213">
                  <c:v>94408</c:v>
                </c:pt>
                <c:pt idx="214">
                  <c:v>94620</c:v>
                </c:pt>
                <c:pt idx="215">
                  <c:v>94686</c:v>
                </c:pt>
                <c:pt idx="216">
                  <c:v>94736</c:v>
                </c:pt>
                <c:pt idx="217">
                  <c:v>94883</c:v>
                </c:pt>
                <c:pt idx="218">
                  <c:v>95013</c:v>
                </c:pt>
                <c:pt idx="219">
                  <c:v>95158</c:v>
                </c:pt>
                <c:pt idx="220">
                  <c:v>95284</c:v>
                </c:pt>
                <c:pt idx="221">
                  <c:v>95413</c:v>
                </c:pt>
                <c:pt idx="222">
                  <c:v>95451</c:v>
                </c:pt>
                <c:pt idx="223">
                  <c:v>95485</c:v>
                </c:pt>
                <c:pt idx="224">
                  <c:v>95589</c:v>
                </c:pt>
                <c:pt idx="225">
                  <c:v>95705</c:v>
                </c:pt>
                <c:pt idx="226">
                  <c:v>95778</c:v>
                </c:pt>
                <c:pt idx="227">
                  <c:v>95883</c:v>
                </c:pt>
                <c:pt idx="228">
                  <c:v>95987</c:v>
                </c:pt>
                <c:pt idx="229">
                  <c:v>96013</c:v>
                </c:pt>
                <c:pt idx="230">
                  <c:v>96032</c:v>
                </c:pt>
                <c:pt idx="231">
                  <c:v>96114</c:v>
                </c:pt>
                <c:pt idx="232">
                  <c:v>96193</c:v>
                </c:pt>
                <c:pt idx="233">
                  <c:v>96276</c:v>
                </c:pt>
                <c:pt idx="234">
                  <c:v>96348</c:v>
                </c:pt>
                <c:pt idx="235">
                  <c:v>96447</c:v>
                </c:pt>
                <c:pt idx="236">
                  <c:v>96465</c:v>
                </c:pt>
                <c:pt idx="237">
                  <c:v>96484</c:v>
                </c:pt>
                <c:pt idx="238">
                  <c:v>96578</c:v>
                </c:pt>
                <c:pt idx="239">
                  <c:v>96653</c:v>
                </c:pt>
                <c:pt idx="240">
                  <c:v>96730</c:v>
                </c:pt>
                <c:pt idx="241">
                  <c:v>96793</c:v>
                </c:pt>
                <c:pt idx="242">
                  <c:v>96896</c:v>
                </c:pt>
                <c:pt idx="243">
                  <c:v>96922</c:v>
                </c:pt>
                <c:pt idx="244">
                  <c:v>96932</c:v>
                </c:pt>
                <c:pt idx="245">
                  <c:v>97011</c:v>
                </c:pt>
                <c:pt idx="246">
                  <c:v>97090</c:v>
                </c:pt>
                <c:pt idx="247">
                  <c:v>97139</c:v>
                </c:pt>
                <c:pt idx="248">
                  <c:v>97212</c:v>
                </c:pt>
                <c:pt idx="249">
                  <c:v>97305</c:v>
                </c:pt>
                <c:pt idx="250">
                  <c:v>97320</c:v>
                </c:pt>
                <c:pt idx="251">
                  <c:v>97338</c:v>
                </c:pt>
                <c:pt idx="252">
                  <c:v>97402</c:v>
                </c:pt>
                <c:pt idx="253">
                  <c:v>97437</c:v>
                </c:pt>
                <c:pt idx="254">
                  <c:v>97490</c:v>
                </c:pt>
                <c:pt idx="255">
                  <c:v>97549</c:v>
                </c:pt>
                <c:pt idx="256">
                  <c:v>97619</c:v>
                </c:pt>
                <c:pt idx="257">
                  <c:v>97635</c:v>
                </c:pt>
                <c:pt idx="258">
                  <c:v>97648</c:v>
                </c:pt>
                <c:pt idx="259">
                  <c:v>97696</c:v>
                </c:pt>
                <c:pt idx="260">
                  <c:v>97747</c:v>
                </c:pt>
                <c:pt idx="261">
                  <c:v>97790</c:v>
                </c:pt>
                <c:pt idx="262">
                  <c:v>97836</c:v>
                </c:pt>
                <c:pt idx="263">
                  <c:v>97908</c:v>
                </c:pt>
                <c:pt idx="264">
                  <c:v>97927</c:v>
                </c:pt>
                <c:pt idx="265">
                  <c:v>97933</c:v>
                </c:pt>
                <c:pt idx="266">
                  <c:v>97977</c:v>
                </c:pt>
                <c:pt idx="267">
                  <c:v>98024</c:v>
                </c:pt>
                <c:pt idx="268">
                  <c:v>98066</c:v>
                </c:pt>
                <c:pt idx="269">
                  <c:v>98124</c:v>
                </c:pt>
                <c:pt idx="270">
                  <c:v>98193</c:v>
                </c:pt>
                <c:pt idx="271">
                  <c:v>98209</c:v>
                </c:pt>
                <c:pt idx="272">
                  <c:v>98215</c:v>
                </c:pt>
                <c:pt idx="273">
                  <c:v>98257</c:v>
                </c:pt>
                <c:pt idx="274">
                  <c:v>98263</c:v>
                </c:pt>
                <c:pt idx="275">
                  <c:v>98290</c:v>
                </c:pt>
                <c:pt idx="276">
                  <c:v>98336</c:v>
                </c:pt>
                <c:pt idx="277">
                  <c:v>98374</c:v>
                </c:pt>
                <c:pt idx="278">
                  <c:v>98382</c:v>
                </c:pt>
                <c:pt idx="279">
                  <c:v>98389</c:v>
                </c:pt>
                <c:pt idx="280">
                  <c:v>98419</c:v>
                </c:pt>
                <c:pt idx="281">
                  <c:v>98448</c:v>
                </c:pt>
                <c:pt idx="282">
                  <c:v>98486</c:v>
                </c:pt>
                <c:pt idx="283">
                  <c:v>98510</c:v>
                </c:pt>
                <c:pt idx="284">
                  <c:v>98558</c:v>
                </c:pt>
                <c:pt idx="285">
                  <c:v>98567</c:v>
                </c:pt>
                <c:pt idx="286">
                  <c:v>98574</c:v>
                </c:pt>
                <c:pt idx="287">
                  <c:v>98602</c:v>
                </c:pt>
                <c:pt idx="288">
                  <c:v>98648</c:v>
                </c:pt>
                <c:pt idx="289">
                  <c:v>98685</c:v>
                </c:pt>
                <c:pt idx="290">
                  <c:v>98713</c:v>
                </c:pt>
                <c:pt idx="291">
                  <c:v>98771</c:v>
                </c:pt>
                <c:pt idx="292">
                  <c:v>98788</c:v>
                </c:pt>
                <c:pt idx="293">
                  <c:v>98799</c:v>
                </c:pt>
                <c:pt idx="294">
                  <c:v>98857</c:v>
                </c:pt>
                <c:pt idx="295">
                  <c:v>98889</c:v>
                </c:pt>
                <c:pt idx="296">
                  <c:v>98948</c:v>
                </c:pt>
                <c:pt idx="297">
                  <c:v>99048</c:v>
                </c:pt>
                <c:pt idx="298">
                  <c:v>99192</c:v>
                </c:pt>
                <c:pt idx="299">
                  <c:v>99242</c:v>
                </c:pt>
                <c:pt idx="300">
                  <c:v>99276</c:v>
                </c:pt>
                <c:pt idx="301">
                  <c:v>99393</c:v>
                </c:pt>
                <c:pt idx="302">
                  <c:v>99550</c:v>
                </c:pt>
                <c:pt idx="303">
                  <c:v>99720</c:v>
                </c:pt>
                <c:pt idx="304">
                  <c:v>99759</c:v>
                </c:pt>
                <c:pt idx="305">
                  <c:v>99940</c:v>
                </c:pt>
                <c:pt idx="306">
                  <c:v>99990</c:v>
                </c:pt>
                <c:pt idx="307">
                  <c:v>100025</c:v>
                </c:pt>
                <c:pt idx="308">
                  <c:v>100229</c:v>
                </c:pt>
                <c:pt idx="309">
                  <c:v>100407</c:v>
                </c:pt>
                <c:pt idx="310">
                  <c:v>100599</c:v>
                </c:pt>
                <c:pt idx="311">
                  <c:v>100808</c:v>
                </c:pt>
                <c:pt idx="312">
                  <c:v>101059</c:v>
                </c:pt>
                <c:pt idx="313">
                  <c:v>101132</c:v>
                </c:pt>
                <c:pt idx="314">
                  <c:v>101176</c:v>
                </c:pt>
                <c:pt idx="315">
                  <c:v>101360</c:v>
                </c:pt>
                <c:pt idx="316">
                  <c:v>101510</c:v>
                </c:pt>
                <c:pt idx="317">
                  <c:v>101674</c:v>
                </c:pt>
                <c:pt idx="318">
                  <c:v>101862</c:v>
                </c:pt>
                <c:pt idx="319">
                  <c:v>102128</c:v>
                </c:pt>
                <c:pt idx="320">
                  <c:v>102182</c:v>
                </c:pt>
                <c:pt idx="321">
                  <c:v>102220</c:v>
                </c:pt>
                <c:pt idx="322">
                  <c:v>102403</c:v>
                </c:pt>
                <c:pt idx="323">
                  <c:v>102615</c:v>
                </c:pt>
                <c:pt idx="324">
                  <c:v>102654</c:v>
                </c:pt>
                <c:pt idx="325">
                  <c:v>102894</c:v>
                </c:pt>
                <c:pt idx="326">
                  <c:v>103173</c:v>
                </c:pt>
                <c:pt idx="327">
                  <c:v>103252</c:v>
                </c:pt>
                <c:pt idx="328">
                  <c:v>103316</c:v>
                </c:pt>
                <c:pt idx="329">
                  <c:v>103503</c:v>
                </c:pt>
                <c:pt idx="330">
                  <c:v>103696</c:v>
                </c:pt>
                <c:pt idx="331">
                  <c:v>103897</c:v>
                </c:pt>
                <c:pt idx="332">
                  <c:v>104109</c:v>
                </c:pt>
                <c:pt idx="333">
                  <c:v>104329</c:v>
                </c:pt>
                <c:pt idx="334">
                  <c:v>104407</c:v>
                </c:pt>
                <c:pt idx="335">
                  <c:v>104430</c:v>
                </c:pt>
                <c:pt idx="336">
                  <c:v>104600</c:v>
                </c:pt>
                <c:pt idx="337">
                  <c:v>104747</c:v>
                </c:pt>
                <c:pt idx="338">
                  <c:v>104908</c:v>
                </c:pt>
                <c:pt idx="339">
                  <c:v>105020</c:v>
                </c:pt>
                <c:pt idx="340">
                  <c:v>105139</c:v>
                </c:pt>
                <c:pt idx="341">
                  <c:v>105161</c:v>
                </c:pt>
                <c:pt idx="342">
                  <c:v>105169</c:v>
                </c:pt>
                <c:pt idx="343">
                  <c:v>105242</c:v>
                </c:pt>
                <c:pt idx="344">
                  <c:v>105319</c:v>
                </c:pt>
                <c:pt idx="345">
                  <c:v>105408</c:v>
                </c:pt>
                <c:pt idx="346">
                  <c:v>105482</c:v>
                </c:pt>
                <c:pt idx="347">
                  <c:v>105568</c:v>
                </c:pt>
                <c:pt idx="348">
                  <c:v>105587</c:v>
                </c:pt>
                <c:pt idx="349">
                  <c:v>105600</c:v>
                </c:pt>
                <c:pt idx="350">
                  <c:v>105677</c:v>
                </c:pt>
                <c:pt idx="351">
                  <c:v>105750</c:v>
                </c:pt>
                <c:pt idx="352">
                  <c:v>105796</c:v>
                </c:pt>
                <c:pt idx="353">
                  <c:v>105869</c:v>
                </c:pt>
                <c:pt idx="354">
                  <c:v>105959</c:v>
                </c:pt>
                <c:pt idx="355">
                  <c:v>105985</c:v>
                </c:pt>
                <c:pt idx="356">
                  <c:v>105993</c:v>
                </c:pt>
                <c:pt idx="357">
                  <c:v>106049</c:v>
                </c:pt>
                <c:pt idx="358">
                  <c:v>106107</c:v>
                </c:pt>
                <c:pt idx="359">
                  <c:v>106146</c:v>
                </c:pt>
                <c:pt idx="360">
                  <c:v>106156</c:v>
                </c:pt>
                <c:pt idx="361">
                  <c:v>106182</c:v>
                </c:pt>
                <c:pt idx="362">
                  <c:v>106211</c:v>
                </c:pt>
                <c:pt idx="363">
                  <c:v>106237</c:v>
                </c:pt>
                <c:pt idx="364">
                  <c:v>106270</c:v>
                </c:pt>
                <c:pt idx="365">
                  <c:v>106272</c:v>
                </c:pt>
                <c:pt idx="366">
                  <c:v>106276</c:v>
                </c:pt>
                <c:pt idx="367">
                  <c:v>106307</c:v>
                </c:pt>
                <c:pt idx="368">
                  <c:v>106350</c:v>
                </c:pt>
                <c:pt idx="369">
                  <c:v>106383</c:v>
                </c:pt>
                <c:pt idx="370">
                  <c:v>106434</c:v>
                </c:pt>
                <c:pt idx="371">
                  <c:v>106509</c:v>
                </c:pt>
                <c:pt idx="372">
                  <c:v>106521</c:v>
                </c:pt>
                <c:pt idx="373">
                  <c:v>106533</c:v>
                </c:pt>
                <c:pt idx="374">
                  <c:v>106570</c:v>
                </c:pt>
                <c:pt idx="375">
                  <c:v>106609</c:v>
                </c:pt>
                <c:pt idx="376">
                  <c:v>106657</c:v>
                </c:pt>
                <c:pt idx="377">
                  <c:v>106706</c:v>
                </c:pt>
                <c:pt idx="378">
                  <c:v>106766</c:v>
                </c:pt>
                <c:pt idx="379">
                  <c:v>106785</c:v>
                </c:pt>
                <c:pt idx="380">
                  <c:v>106795</c:v>
                </c:pt>
                <c:pt idx="381">
                  <c:v>106834</c:v>
                </c:pt>
                <c:pt idx="382">
                  <c:v>106881</c:v>
                </c:pt>
                <c:pt idx="383">
                  <c:v>106908</c:v>
                </c:pt>
                <c:pt idx="384">
                  <c:v>106932</c:v>
                </c:pt>
                <c:pt idx="385">
                  <c:v>1069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round/>
            </a:ln>
            <a:effectLst/>
          </c:spPr>
          <c:marker>
            <c:symbol val="none"/>
          </c:marker>
          <c:cat>
            <c:strRef>
              <c:f>List1!$J$1:$OE$1</c:f>
              <c:strCache>
                <c:ptCount val="386"/>
                <c:pt idx="0">
                  <c:v>28.XII.20</c:v>
                </c:pt>
                <c:pt idx="1">
                  <c:v>29.XII.20</c:v>
                </c:pt>
                <c:pt idx="2">
                  <c:v>30.XII.20</c:v>
                </c:pt>
                <c:pt idx="3">
                  <c:v>31.XII.20</c:v>
                </c:pt>
                <c:pt idx="4">
                  <c:v>1.I.21</c:v>
                </c:pt>
                <c:pt idx="5">
                  <c:v>2.I.21</c:v>
                </c:pt>
                <c:pt idx="6">
                  <c:v>3.I.21</c:v>
                </c:pt>
                <c:pt idx="7">
                  <c:v>4.I.21</c:v>
                </c:pt>
                <c:pt idx="8">
                  <c:v>5.I.21</c:v>
                </c:pt>
                <c:pt idx="9">
                  <c:v>6.I.21</c:v>
                </c:pt>
                <c:pt idx="10">
                  <c:v>7.I.21</c:v>
                </c:pt>
                <c:pt idx="11">
                  <c:v>8.I.21</c:v>
                </c:pt>
                <c:pt idx="12">
                  <c:v>9.I.21</c:v>
                </c:pt>
                <c:pt idx="13">
                  <c:v>10.I.21</c:v>
                </c:pt>
                <c:pt idx="14">
                  <c:v>11.I.21</c:v>
                </c:pt>
                <c:pt idx="15">
                  <c:v>12.I.21</c:v>
                </c:pt>
                <c:pt idx="16">
                  <c:v>13.I.21</c:v>
                </c:pt>
                <c:pt idx="17">
                  <c:v>14.I.21</c:v>
                </c:pt>
                <c:pt idx="18">
                  <c:v>15.I.21</c:v>
                </c:pt>
                <c:pt idx="19">
                  <c:v>16.I.21</c:v>
                </c:pt>
                <c:pt idx="20">
                  <c:v>17.I.21</c:v>
                </c:pt>
                <c:pt idx="21">
                  <c:v>18.I.21</c:v>
                </c:pt>
                <c:pt idx="22">
                  <c:v>19.I.21</c:v>
                </c:pt>
                <c:pt idx="23">
                  <c:v>20.I.21</c:v>
                </c:pt>
                <c:pt idx="24">
                  <c:v>21.I.21</c:v>
                </c:pt>
                <c:pt idx="25">
                  <c:v>22.I.21</c:v>
                </c:pt>
                <c:pt idx="26">
                  <c:v>23.I.21</c:v>
                </c:pt>
                <c:pt idx="27">
                  <c:v>24.I.21</c:v>
                </c:pt>
                <c:pt idx="28">
                  <c:v>25.I.21</c:v>
                </c:pt>
                <c:pt idx="29">
                  <c:v>26.I.21</c:v>
                </c:pt>
                <c:pt idx="30">
                  <c:v>27.I.21</c:v>
                </c:pt>
                <c:pt idx="31">
                  <c:v>28.I.21</c:v>
                </c:pt>
                <c:pt idx="32">
                  <c:v>29.I.21</c:v>
                </c:pt>
                <c:pt idx="33">
                  <c:v>30.I.21</c:v>
                </c:pt>
                <c:pt idx="34">
                  <c:v>31.I.21</c:v>
                </c:pt>
                <c:pt idx="35">
                  <c:v>1.II.21</c:v>
                </c:pt>
                <c:pt idx="36">
                  <c:v>2.II.21</c:v>
                </c:pt>
                <c:pt idx="37">
                  <c:v>3.II.21</c:v>
                </c:pt>
                <c:pt idx="38">
                  <c:v>4.II.21</c:v>
                </c:pt>
                <c:pt idx="39">
                  <c:v>5.II.21</c:v>
                </c:pt>
                <c:pt idx="40">
                  <c:v>6.II.21</c:v>
                </c:pt>
                <c:pt idx="41">
                  <c:v>7.II.21</c:v>
                </c:pt>
                <c:pt idx="42">
                  <c:v>8.II.21</c:v>
                </c:pt>
                <c:pt idx="43">
                  <c:v>9.II.21</c:v>
                </c:pt>
                <c:pt idx="44">
                  <c:v>10.II.21</c:v>
                </c:pt>
                <c:pt idx="45">
                  <c:v>11.II.21</c:v>
                </c:pt>
                <c:pt idx="46">
                  <c:v>12.II.21</c:v>
                </c:pt>
                <c:pt idx="47">
                  <c:v>13.II.21</c:v>
                </c:pt>
                <c:pt idx="48">
                  <c:v>14.II.21</c:v>
                </c:pt>
                <c:pt idx="49">
                  <c:v>15.II.21</c:v>
                </c:pt>
                <c:pt idx="50">
                  <c:v>16.II.21</c:v>
                </c:pt>
                <c:pt idx="51">
                  <c:v>17.II.21</c:v>
                </c:pt>
                <c:pt idx="52">
                  <c:v>18.II.21</c:v>
                </c:pt>
                <c:pt idx="53">
                  <c:v>19.II.21</c:v>
                </c:pt>
                <c:pt idx="54">
                  <c:v>20.II.21</c:v>
                </c:pt>
                <c:pt idx="55">
                  <c:v>21.II.21</c:v>
                </c:pt>
                <c:pt idx="56">
                  <c:v>22.II.21</c:v>
                </c:pt>
                <c:pt idx="57">
                  <c:v>23.II.21</c:v>
                </c:pt>
                <c:pt idx="58">
                  <c:v>24.II.21</c:v>
                </c:pt>
                <c:pt idx="59">
                  <c:v>25.II.21</c:v>
                </c:pt>
                <c:pt idx="60">
                  <c:v>26.II.21</c:v>
                </c:pt>
                <c:pt idx="61">
                  <c:v>27.II.21</c:v>
                </c:pt>
                <c:pt idx="62">
                  <c:v>28.II.21</c:v>
                </c:pt>
                <c:pt idx="63">
                  <c:v>1.III.21</c:v>
                </c:pt>
                <c:pt idx="64">
                  <c:v>2.III.21</c:v>
                </c:pt>
                <c:pt idx="65">
                  <c:v>3.III.21</c:v>
                </c:pt>
                <c:pt idx="66">
                  <c:v>4.III.21</c:v>
                </c:pt>
                <c:pt idx="67">
                  <c:v>5.III.21</c:v>
                </c:pt>
                <c:pt idx="68">
                  <c:v>6.III.21</c:v>
                </c:pt>
                <c:pt idx="69">
                  <c:v>7.III.21</c:v>
                </c:pt>
                <c:pt idx="70">
                  <c:v>8.III.21</c:v>
                </c:pt>
                <c:pt idx="71">
                  <c:v>9.III.21</c:v>
                </c:pt>
                <c:pt idx="72">
                  <c:v>10.III.21</c:v>
                </c:pt>
                <c:pt idx="73">
                  <c:v>11.III.21</c:v>
                </c:pt>
                <c:pt idx="74">
                  <c:v>12.III.21</c:v>
                </c:pt>
                <c:pt idx="75">
                  <c:v>13.III.21</c:v>
                </c:pt>
                <c:pt idx="76">
                  <c:v>14.III.21</c:v>
                </c:pt>
                <c:pt idx="77">
                  <c:v>15.III.21</c:v>
                </c:pt>
                <c:pt idx="78">
                  <c:v>16.III.21</c:v>
                </c:pt>
                <c:pt idx="79">
                  <c:v>17.III.21</c:v>
                </c:pt>
                <c:pt idx="80">
                  <c:v>18.III.21</c:v>
                </c:pt>
                <c:pt idx="81">
                  <c:v>19.III.21</c:v>
                </c:pt>
                <c:pt idx="82">
                  <c:v>20.III.21</c:v>
                </c:pt>
                <c:pt idx="83">
                  <c:v>21.III.21</c:v>
                </c:pt>
                <c:pt idx="84">
                  <c:v>22.III.21</c:v>
                </c:pt>
                <c:pt idx="85">
                  <c:v>23.III.21</c:v>
                </c:pt>
                <c:pt idx="86">
                  <c:v>24.III.21</c:v>
                </c:pt>
                <c:pt idx="87">
                  <c:v>25.III.21</c:v>
                </c:pt>
                <c:pt idx="88">
                  <c:v>26.III.21</c:v>
                </c:pt>
                <c:pt idx="89">
                  <c:v>27.III.21</c:v>
                </c:pt>
                <c:pt idx="90">
                  <c:v>28.III.21</c:v>
                </c:pt>
                <c:pt idx="91">
                  <c:v>29.III.21</c:v>
                </c:pt>
                <c:pt idx="92">
                  <c:v>30.III.21</c:v>
                </c:pt>
                <c:pt idx="93">
                  <c:v>31.III.21</c:v>
                </c:pt>
                <c:pt idx="94">
                  <c:v>1.IV.21</c:v>
                </c:pt>
                <c:pt idx="95">
                  <c:v>2.IV.21</c:v>
                </c:pt>
                <c:pt idx="96">
                  <c:v>3.IV.21</c:v>
                </c:pt>
                <c:pt idx="97">
                  <c:v>4.IV.21</c:v>
                </c:pt>
                <c:pt idx="98">
                  <c:v>5.IV.21</c:v>
                </c:pt>
                <c:pt idx="99">
                  <c:v>6.IV.21</c:v>
                </c:pt>
                <c:pt idx="100">
                  <c:v>7.IV.21</c:v>
                </c:pt>
                <c:pt idx="101">
                  <c:v>8.IV.21</c:v>
                </c:pt>
                <c:pt idx="102">
                  <c:v>9.IV.21</c:v>
                </c:pt>
                <c:pt idx="103">
                  <c:v>10.IV.21</c:v>
                </c:pt>
                <c:pt idx="104">
                  <c:v>11.IV.21</c:v>
                </c:pt>
                <c:pt idx="105">
                  <c:v>12.IV.21</c:v>
                </c:pt>
                <c:pt idx="106">
                  <c:v>13.IV.21</c:v>
                </c:pt>
                <c:pt idx="107">
                  <c:v>14.IV.21</c:v>
                </c:pt>
                <c:pt idx="108">
                  <c:v>15.IV.21</c:v>
                </c:pt>
                <c:pt idx="109">
                  <c:v>16.IV.21</c:v>
                </c:pt>
                <c:pt idx="110">
                  <c:v>17.IV.21</c:v>
                </c:pt>
                <c:pt idx="111">
                  <c:v>18.IV.21</c:v>
                </c:pt>
                <c:pt idx="112">
                  <c:v>19.IV.21</c:v>
                </c:pt>
                <c:pt idx="113">
                  <c:v>20.IV.21</c:v>
                </c:pt>
                <c:pt idx="114">
                  <c:v>21.IV.21</c:v>
                </c:pt>
                <c:pt idx="115">
                  <c:v>22.IV.21</c:v>
                </c:pt>
                <c:pt idx="116">
                  <c:v>23.IV.21</c:v>
                </c:pt>
                <c:pt idx="117">
                  <c:v>24.IV.21</c:v>
                </c:pt>
                <c:pt idx="118">
                  <c:v>25.IV.21</c:v>
                </c:pt>
                <c:pt idx="119">
                  <c:v>26.IV.21</c:v>
                </c:pt>
                <c:pt idx="120">
                  <c:v>27.IV.21</c:v>
                </c:pt>
                <c:pt idx="121">
                  <c:v>28.IV.21</c:v>
                </c:pt>
                <c:pt idx="122">
                  <c:v>29.IV.21</c:v>
                </c:pt>
                <c:pt idx="123">
                  <c:v>30.IV.21</c:v>
                </c:pt>
                <c:pt idx="124">
                  <c:v>1.V.21</c:v>
                </c:pt>
                <c:pt idx="125">
                  <c:v>2.V.21</c:v>
                </c:pt>
                <c:pt idx="126">
                  <c:v>3.V.21</c:v>
                </c:pt>
                <c:pt idx="127">
                  <c:v>4.V.21</c:v>
                </c:pt>
                <c:pt idx="128">
                  <c:v>5.V.21</c:v>
                </c:pt>
                <c:pt idx="129">
                  <c:v>6.V.21</c:v>
                </c:pt>
                <c:pt idx="130">
                  <c:v>7.V.21</c:v>
                </c:pt>
                <c:pt idx="131">
                  <c:v>8.V.21</c:v>
                </c:pt>
                <c:pt idx="132">
                  <c:v>9.V.21</c:v>
                </c:pt>
                <c:pt idx="133">
                  <c:v>10.V.21</c:v>
                </c:pt>
                <c:pt idx="134">
                  <c:v>11.V.21</c:v>
                </c:pt>
                <c:pt idx="135">
                  <c:v>12.V.21</c:v>
                </c:pt>
                <c:pt idx="136">
                  <c:v>13.V.21</c:v>
                </c:pt>
                <c:pt idx="137">
                  <c:v>14.V.21</c:v>
                </c:pt>
                <c:pt idx="138">
                  <c:v>15.V.21</c:v>
                </c:pt>
                <c:pt idx="139">
                  <c:v>16.V.21</c:v>
                </c:pt>
                <c:pt idx="140">
                  <c:v>17.V.21</c:v>
                </c:pt>
                <c:pt idx="141">
                  <c:v>18.V.21</c:v>
                </c:pt>
                <c:pt idx="142">
                  <c:v>19.V.21</c:v>
                </c:pt>
                <c:pt idx="143">
                  <c:v>20.V.21</c:v>
                </c:pt>
                <c:pt idx="144">
                  <c:v>21.V.21</c:v>
                </c:pt>
                <c:pt idx="145">
                  <c:v>22.V.21</c:v>
                </c:pt>
                <c:pt idx="146">
                  <c:v>23.V.21</c:v>
                </c:pt>
                <c:pt idx="147">
                  <c:v>24.V.21</c:v>
                </c:pt>
                <c:pt idx="148">
                  <c:v>25.V.21</c:v>
                </c:pt>
                <c:pt idx="149">
                  <c:v>26.V.21</c:v>
                </c:pt>
                <c:pt idx="150">
                  <c:v>27.V.21</c:v>
                </c:pt>
                <c:pt idx="151">
                  <c:v>28.V.21</c:v>
                </c:pt>
                <c:pt idx="152">
                  <c:v>29.V.21</c:v>
                </c:pt>
                <c:pt idx="153">
                  <c:v>30.V.21</c:v>
                </c:pt>
                <c:pt idx="154">
                  <c:v>31.V.21</c:v>
                </c:pt>
                <c:pt idx="155">
                  <c:v>1.VI.21</c:v>
                </c:pt>
                <c:pt idx="156">
                  <c:v>2.VI.21</c:v>
                </c:pt>
                <c:pt idx="157">
                  <c:v>3.VI.21</c:v>
                </c:pt>
                <c:pt idx="158">
                  <c:v>4.VI.21</c:v>
                </c:pt>
                <c:pt idx="159">
                  <c:v>5.VI.21</c:v>
                </c:pt>
                <c:pt idx="160">
                  <c:v>6.VI.21</c:v>
                </c:pt>
                <c:pt idx="161">
                  <c:v>7.VI.21</c:v>
                </c:pt>
                <c:pt idx="162">
                  <c:v>8.VI.21</c:v>
                </c:pt>
                <c:pt idx="163">
                  <c:v>9.VI.21</c:v>
                </c:pt>
                <c:pt idx="164">
                  <c:v>10.VI.21</c:v>
                </c:pt>
                <c:pt idx="165">
                  <c:v>11.VI.21</c:v>
                </c:pt>
                <c:pt idx="166">
                  <c:v>12.VI.21</c:v>
                </c:pt>
                <c:pt idx="167">
                  <c:v>13.VI.21</c:v>
                </c:pt>
                <c:pt idx="168">
                  <c:v>14.VI.21</c:v>
                </c:pt>
                <c:pt idx="169">
                  <c:v>15.VI.21</c:v>
                </c:pt>
                <c:pt idx="170">
                  <c:v>16.VI.21</c:v>
                </c:pt>
                <c:pt idx="171">
                  <c:v>17.VI.21</c:v>
                </c:pt>
                <c:pt idx="172">
                  <c:v>18.VI.21</c:v>
                </c:pt>
                <c:pt idx="173">
                  <c:v>19.VI.21</c:v>
                </c:pt>
                <c:pt idx="174">
                  <c:v>20.VI.21</c:v>
                </c:pt>
                <c:pt idx="175">
                  <c:v>21.VI.21</c:v>
                </c:pt>
                <c:pt idx="176">
                  <c:v>22.VI.21</c:v>
                </c:pt>
                <c:pt idx="177">
                  <c:v>23.VI.21</c:v>
                </c:pt>
                <c:pt idx="178">
                  <c:v>24.VI.21</c:v>
                </c:pt>
                <c:pt idx="179">
                  <c:v>25.VI.21</c:v>
                </c:pt>
                <c:pt idx="180">
                  <c:v>26.VI.21</c:v>
                </c:pt>
                <c:pt idx="181">
                  <c:v>27.VI.21</c:v>
                </c:pt>
                <c:pt idx="182">
                  <c:v>28.VI.21</c:v>
                </c:pt>
                <c:pt idx="183">
                  <c:v>29.VI.21</c:v>
                </c:pt>
                <c:pt idx="184">
                  <c:v>30.VI.21</c:v>
                </c:pt>
                <c:pt idx="185">
                  <c:v>1.VII.21</c:v>
                </c:pt>
                <c:pt idx="186">
                  <c:v>2.VII.21</c:v>
                </c:pt>
                <c:pt idx="187">
                  <c:v>3.VII.21</c:v>
                </c:pt>
                <c:pt idx="188">
                  <c:v>4.VII.21</c:v>
                </c:pt>
                <c:pt idx="189">
                  <c:v>5.VII.21</c:v>
                </c:pt>
                <c:pt idx="190">
                  <c:v>6.VII.21</c:v>
                </c:pt>
                <c:pt idx="191">
                  <c:v>7.VII.21</c:v>
                </c:pt>
                <c:pt idx="192">
                  <c:v>8.VII.21</c:v>
                </c:pt>
                <c:pt idx="193">
                  <c:v>9.VII.21</c:v>
                </c:pt>
                <c:pt idx="194">
                  <c:v>10.VII.21</c:v>
                </c:pt>
                <c:pt idx="195">
                  <c:v>11.VII.21</c:v>
                </c:pt>
                <c:pt idx="196">
                  <c:v>12.VII.21</c:v>
                </c:pt>
                <c:pt idx="197">
                  <c:v>13.VII.21</c:v>
                </c:pt>
                <c:pt idx="198">
                  <c:v>14.VII.21</c:v>
                </c:pt>
                <c:pt idx="199">
                  <c:v>15.VII.21</c:v>
                </c:pt>
                <c:pt idx="200">
                  <c:v>16.VII.21</c:v>
                </c:pt>
                <c:pt idx="201">
                  <c:v>17.VII.21</c:v>
                </c:pt>
                <c:pt idx="202">
                  <c:v>18.VII.21</c:v>
                </c:pt>
                <c:pt idx="203">
                  <c:v>19.VII.21</c:v>
                </c:pt>
                <c:pt idx="204">
                  <c:v>20.VII.21</c:v>
                </c:pt>
                <c:pt idx="205">
                  <c:v>21.VII.21</c:v>
                </c:pt>
                <c:pt idx="206">
                  <c:v>22.VII.21</c:v>
                </c:pt>
                <c:pt idx="207">
                  <c:v>23.VII.21</c:v>
                </c:pt>
                <c:pt idx="208">
                  <c:v>24.VII.21</c:v>
                </c:pt>
                <c:pt idx="209">
                  <c:v>25.VII.21</c:v>
                </c:pt>
                <c:pt idx="210">
                  <c:v>26.VII.21</c:v>
                </c:pt>
                <c:pt idx="211">
                  <c:v>27.VII.21</c:v>
                </c:pt>
                <c:pt idx="212">
                  <c:v>28.VII.21</c:v>
                </c:pt>
                <c:pt idx="213">
                  <c:v>29.VII.21</c:v>
                </c:pt>
                <c:pt idx="214">
                  <c:v>30.VII.21</c:v>
                </c:pt>
                <c:pt idx="215">
                  <c:v>31.VII.21</c:v>
                </c:pt>
                <c:pt idx="216">
                  <c:v>1.VIII.21</c:v>
                </c:pt>
                <c:pt idx="217">
                  <c:v>2.VIII.21</c:v>
                </c:pt>
                <c:pt idx="218">
                  <c:v>3.VIII.21</c:v>
                </c:pt>
                <c:pt idx="219">
                  <c:v>4.VIII.21</c:v>
                </c:pt>
                <c:pt idx="220">
                  <c:v>5.VIII.21</c:v>
                </c:pt>
                <c:pt idx="221">
                  <c:v>6.VIII.21</c:v>
                </c:pt>
                <c:pt idx="222">
                  <c:v>7.VIII.21</c:v>
                </c:pt>
                <c:pt idx="223">
                  <c:v>8.VIII.21</c:v>
                </c:pt>
                <c:pt idx="224">
                  <c:v>9.VIII.21</c:v>
                </c:pt>
                <c:pt idx="225">
                  <c:v>10.VIII.21</c:v>
                </c:pt>
                <c:pt idx="226">
                  <c:v>11.VIII.21</c:v>
                </c:pt>
                <c:pt idx="227">
                  <c:v>12.VIII.21</c:v>
                </c:pt>
                <c:pt idx="228">
                  <c:v>13.VIII.21</c:v>
                </c:pt>
                <c:pt idx="229">
                  <c:v>14.VIII.21</c:v>
                </c:pt>
                <c:pt idx="230">
                  <c:v>15.VIII.21</c:v>
                </c:pt>
                <c:pt idx="231">
                  <c:v>16.VIII.21</c:v>
                </c:pt>
                <c:pt idx="232">
                  <c:v>17.VIII.21</c:v>
                </c:pt>
                <c:pt idx="233">
                  <c:v>18.VIII.21</c:v>
                </c:pt>
                <c:pt idx="234">
                  <c:v>19.VIII.21</c:v>
                </c:pt>
                <c:pt idx="235">
                  <c:v>20.VIII.21</c:v>
                </c:pt>
                <c:pt idx="236">
                  <c:v>21.VIII.21</c:v>
                </c:pt>
                <c:pt idx="237">
                  <c:v>22.VIII.21</c:v>
                </c:pt>
                <c:pt idx="238">
                  <c:v>23.VIII.21</c:v>
                </c:pt>
                <c:pt idx="239">
                  <c:v>24.VIII.21</c:v>
                </c:pt>
                <c:pt idx="240">
                  <c:v>25.VIII.21</c:v>
                </c:pt>
                <c:pt idx="241">
                  <c:v>26.VIII.21</c:v>
                </c:pt>
                <c:pt idx="242">
                  <c:v>27.VIII.21</c:v>
                </c:pt>
                <c:pt idx="243">
                  <c:v>28.VIII.21</c:v>
                </c:pt>
                <c:pt idx="244">
                  <c:v>29.VIII.21</c:v>
                </c:pt>
                <c:pt idx="245">
                  <c:v>30.VIII.21</c:v>
                </c:pt>
                <c:pt idx="246">
                  <c:v>31.VIII.21</c:v>
                </c:pt>
                <c:pt idx="247">
                  <c:v>1.IX.21</c:v>
                </c:pt>
                <c:pt idx="248">
                  <c:v>2.IX.21</c:v>
                </c:pt>
                <c:pt idx="249">
                  <c:v>3.IX.21</c:v>
                </c:pt>
                <c:pt idx="250">
                  <c:v>4.IX.21</c:v>
                </c:pt>
                <c:pt idx="251">
                  <c:v>5.IX.21</c:v>
                </c:pt>
                <c:pt idx="252">
                  <c:v>6.IX.21</c:v>
                </c:pt>
                <c:pt idx="253">
                  <c:v>7.IX.21</c:v>
                </c:pt>
                <c:pt idx="254">
                  <c:v>8.IX.21</c:v>
                </c:pt>
                <c:pt idx="255">
                  <c:v>9.IX.21</c:v>
                </c:pt>
                <c:pt idx="256">
                  <c:v>10.IX.21</c:v>
                </c:pt>
                <c:pt idx="257">
                  <c:v>11.IX.21</c:v>
                </c:pt>
                <c:pt idx="258">
                  <c:v>12.IX.21</c:v>
                </c:pt>
                <c:pt idx="259">
                  <c:v>13.IX.21</c:v>
                </c:pt>
                <c:pt idx="260">
                  <c:v>14.IX.21</c:v>
                </c:pt>
                <c:pt idx="261">
                  <c:v>15.IX.21</c:v>
                </c:pt>
                <c:pt idx="262">
                  <c:v>16.IX.21</c:v>
                </c:pt>
                <c:pt idx="263">
                  <c:v>17.IX.21</c:v>
                </c:pt>
                <c:pt idx="264">
                  <c:v>18.IX.21</c:v>
                </c:pt>
                <c:pt idx="265">
                  <c:v>19.IX.21</c:v>
                </c:pt>
                <c:pt idx="266">
                  <c:v>20.IX.21</c:v>
                </c:pt>
                <c:pt idx="267">
                  <c:v>21.IX.21</c:v>
                </c:pt>
                <c:pt idx="268">
                  <c:v>22.IX.21</c:v>
                </c:pt>
                <c:pt idx="269">
                  <c:v>23.IX.21</c:v>
                </c:pt>
                <c:pt idx="270">
                  <c:v>24.IX.21</c:v>
                </c:pt>
                <c:pt idx="271">
                  <c:v>25.IX.21</c:v>
                </c:pt>
                <c:pt idx="272">
                  <c:v>26.IX.21</c:v>
                </c:pt>
                <c:pt idx="273">
                  <c:v>27.IX.21</c:v>
                </c:pt>
                <c:pt idx="274">
                  <c:v>28.IX.21</c:v>
                </c:pt>
                <c:pt idx="275">
                  <c:v>29.IX.21</c:v>
                </c:pt>
                <c:pt idx="276">
                  <c:v>30.IX.21</c:v>
                </c:pt>
                <c:pt idx="277">
                  <c:v>1.X.21</c:v>
                </c:pt>
                <c:pt idx="278">
                  <c:v>2.X.21</c:v>
                </c:pt>
                <c:pt idx="279">
                  <c:v>3.X.21</c:v>
                </c:pt>
                <c:pt idx="280">
                  <c:v>4.X.21</c:v>
                </c:pt>
                <c:pt idx="281">
                  <c:v>5.X.21</c:v>
                </c:pt>
                <c:pt idx="282">
                  <c:v>6.X.21</c:v>
                </c:pt>
                <c:pt idx="283">
                  <c:v>7.X.21</c:v>
                </c:pt>
                <c:pt idx="284">
                  <c:v>8.X.21</c:v>
                </c:pt>
                <c:pt idx="285">
                  <c:v>9.X.21</c:v>
                </c:pt>
                <c:pt idx="286">
                  <c:v>10.X.21</c:v>
                </c:pt>
                <c:pt idx="287">
                  <c:v>11.X.21</c:v>
                </c:pt>
                <c:pt idx="288">
                  <c:v>12.X.21</c:v>
                </c:pt>
                <c:pt idx="289">
                  <c:v>13.X.21</c:v>
                </c:pt>
                <c:pt idx="290">
                  <c:v>14.X.21</c:v>
                </c:pt>
                <c:pt idx="291">
                  <c:v>15.X.21</c:v>
                </c:pt>
                <c:pt idx="292">
                  <c:v>16.X.21</c:v>
                </c:pt>
                <c:pt idx="293">
                  <c:v>17.X.21</c:v>
                </c:pt>
                <c:pt idx="294">
                  <c:v>18.X.21</c:v>
                </c:pt>
                <c:pt idx="295">
                  <c:v>19.X.21</c:v>
                </c:pt>
                <c:pt idx="296">
                  <c:v>20.X.21</c:v>
                </c:pt>
                <c:pt idx="297">
                  <c:v>21.X.21</c:v>
                </c:pt>
                <c:pt idx="298">
                  <c:v>22.X.21</c:v>
                </c:pt>
                <c:pt idx="299">
                  <c:v>23.X.21</c:v>
                </c:pt>
                <c:pt idx="300">
                  <c:v>24.X.21</c:v>
                </c:pt>
                <c:pt idx="301">
                  <c:v>25.X.21</c:v>
                </c:pt>
                <c:pt idx="302">
                  <c:v>26.X.21</c:v>
                </c:pt>
                <c:pt idx="303">
                  <c:v>27.X.21</c:v>
                </c:pt>
                <c:pt idx="304">
                  <c:v>28.X.21</c:v>
                </c:pt>
                <c:pt idx="305">
                  <c:v>29.X.21</c:v>
                </c:pt>
                <c:pt idx="306">
                  <c:v>30.X.21</c:v>
                </c:pt>
                <c:pt idx="307">
                  <c:v>31.X.21</c:v>
                </c:pt>
                <c:pt idx="308">
                  <c:v>1.XI.21</c:v>
                </c:pt>
                <c:pt idx="309">
                  <c:v>2.XI.21</c:v>
                </c:pt>
                <c:pt idx="310">
                  <c:v>3.XI.21</c:v>
                </c:pt>
                <c:pt idx="311">
                  <c:v>4.XI.21</c:v>
                </c:pt>
                <c:pt idx="312">
                  <c:v>5.XI.21</c:v>
                </c:pt>
                <c:pt idx="313">
                  <c:v>6.XI.21</c:v>
                </c:pt>
                <c:pt idx="314">
                  <c:v>7.XI.21</c:v>
                </c:pt>
                <c:pt idx="315">
                  <c:v>8.XI.21</c:v>
                </c:pt>
                <c:pt idx="316">
                  <c:v>9.XI.21</c:v>
                </c:pt>
                <c:pt idx="317">
                  <c:v>10.XI.21</c:v>
                </c:pt>
                <c:pt idx="318">
                  <c:v>11.XI.21</c:v>
                </c:pt>
                <c:pt idx="319">
                  <c:v>12.XI.21</c:v>
                </c:pt>
                <c:pt idx="320">
                  <c:v>13.XI.21</c:v>
                </c:pt>
                <c:pt idx="321">
                  <c:v>14.XI.21</c:v>
                </c:pt>
                <c:pt idx="322">
                  <c:v>15.XI.21</c:v>
                </c:pt>
                <c:pt idx="323">
                  <c:v>16.XI.21</c:v>
                </c:pt>
                <c:pt idx="324">
                  <c:v>17.XI.21</c:v>
                </c:pt>
                <c:pt idx="325">
                  <c:v>18.XI.21</c:v>
                </c:pt>
                <c:pt idx="326">
                  <c:v>19.XI.21</c:v>
                </c:pt>
                <c:pt idx="327">
                  <c:v>20.XI.21</c:v>
                </c:pt>
                <c:pt idx="328">
                  <c:v>21.XI.21</c:v>
                </c:pt>
                <c:pt idx="329">
                  <c:v>22.XI.21</c:v>
                </c:pt>
                <c:pt idx="330">
                  <c:v>23.XI.21</c:v>
                </c:pt>
                <c:pt idx="331">
                  <c:v>24.XI.21</c:v>
                </c:pt>
                <c:pt idx="332">
                  <c:v>25.XI.21</c:v>
                </c:pt>
                <c:pt idx="333">
                  <c:v>26.XI.21</c:v>
                </c:pt>
                <c:pt idx="334">
                  <c:v>27.XI.21</c:v>
                </c:pt>
                <c:pt idx="335">
                  <c:v>28.XI.21</c:v>
                </c:pt>
                <c:pt idx="336">
                  <c:v>29.XI.21</c:v>
                </c:pt>
                <c:pt idx="337">
                  <c:v>30.XI.21</c:v>
                </c:pt>
                <c:pt idx="338">
                  <c:v>1.XII.21</c:v>
                </c:pt>
                <c:pt idx="339">
                  <c:v>2.XII.21</c:v>
                </c:pt>
                <c:pt idx="340">
                  <c:v>3.XII.21</c:v>
                </c:pt>
                <c:pt idx="341">
                  <c:v>4.XII.21</c:v>
                </c:pt>
                <c:pt idx="342">
                  <c:v>5.XII.21</c:v>
                </c:pt>
                <c:pt idx="343">
                  <c:v>6.XII.21</c:v>
                </c:pt>
                <c:pt idx="344">
                  <c:v>7.XII.21</c:v>
                </c:pt>
                <c:pt idx="345">
                  <c:v>8.XII.21</c:v>
                </c:pt>
                <c:pt idx="346">
                  <c:v>9.XII.21</c:v>
                </c:pt>
                <c:pt idx="347">
                  <c:v>10.XII.21</c:v>
                </c:pt>
                <c:pt idx="348">
                  <c:v>11.XII.21</c:v>
                </c:pt>
                <c:pt idx="349">
                  <c:v>12.XII.21</c:v>
                </c:pt>
                <c:pt idx="350">
                  <c:v>13.XII.21</c:v>
                </c:pt>
                <c:pt idx="351">
                  <c:v>14.XII.21</c:v>
                </c:pt>
                <c:pt idx="352">
                  <c:v>15.XII.21</c:v>
                </c:pt>
                <c:pt idx="353">
                  <c:v>16.XII.21</c:v>
                </c:pt>
                <c:pt idx="354">
                  <c:v>17.XII.21</c:v>
                </c:pt>
                <c:pt idx="355">
                  <c:v>18.XII.21</c:v>
                </c:pt>
                <c:pt idx="356">
                  <c:v>19.XII.21</c:v>
                </c:pt>
                <c:pt idx="357">
                  <c:v>20.XII.21</c:v>
                </c:pt>
                <c:pt idx="358">
                  <c:v>21.XII.21</c:v>
                </c:pt>
                <c:pt idx="359">
                  <c:v>22.XII.21</c:v>
                </c:pt>
                <c:pt idx="360">
                  <c:v>23.XII.21</c:v>
                </c:pt>
                <c:pt idx="361">
                  <c:v>27.XII.21</c:v>
                </c:pt>
                <c:pt idx="362">
                  <c:v>28.XII.21</c:v>
                </c:pt>
                <c:pt idx="363">
                  <c:v>29.XII.21</c:v>
                </c:pt>
                <c:pt idx="364">
                  <c:v>30.XII.21</c:v>
                </c:pt>
                <c:pt idx="365">
                  <c:v>31.XII.21</c:v>
                </c:pt>
                <c:pt idx="366">
                  <c:v>2.I.22</c:v>
                </c:pt>
                <c:pt idx="367">
                  <c:v>3.I.22</c:v>
                </c:pt>
                <c:pt idx="368">
                  <c:v>4.I.22</c:v>
                </c:pt>
                <c:pt idx="369">
                  <c:v>5.I.22</c:v>
                </c:pt>
                <c:pt idx="370">
                  <c:v>6.I.22</c:v>
                </c:pt>
                <c:pt idx="371">
                  <c:v>7.I.22</c:v>
                </c:pt>
                <c:pt idx="372">
                  <c:v>8.I.22</c:v>
                </c:pt>
                <c:pt idx="373">
                  <c:v>9.I.22</c:v>
                </c:pt>
                <c:pt idx="374">
                  <c:v>10.I.22</c:v>
                </c:pt>
                <c:pt idx="375">
                  <c:v>11.I.22</c:v>
                </c:pt>
                <c:pt idx="376">
                  <c:v>12.I.22</c:v>
                </c:pt>
                <c:pt idx="377">
                  <c:v>13.I.22</c:v>
                </c:pt>
                <c:pt idx="378">
                  <c:v>14.I.22</c:v>
                </c:pt>
                <c:pt idx="379">
                  <c:v>15.I.22</c:v>
                </c:pt>
                <c:pt idx="380">
                  <c:v>16.I.22</c:v>
                </c:pt>
                <c:pt idx="381">
                  <c:v>17.I.22</c:v>
                </c:pt>
                <c:pt idx="382">
                  <c:v>18.I.22</c:v>
                </c:pt>
                <c:pt idx="383">
                  <c:v>19.I.22</c:v>
                </c:pt>
                <c:pt idx="384">
                  <c:v>20.I.22</c:v>
                </c:pt>
                <c:pt idx="385">
                  <c:v>21.I.22</c:v>
                </c:pt>
              </c:strCache>
            </c:strRef>
          </c:cat>
          <c:val>
            <c:numRef>
              <c:f>List1!$J$5:$OE$5</c:f>
              <c:numCache>
                <c:formatCode>General</c:formatCode>
                <c:ptCount val="386"/>
                <c:pt idx="0">
                  <c:v>1180</c:v>
                </c:pt>
                <c:pt idx="1">
                  <c:v>2129</c:v>
                </c:pt>
                <c:pt idx="2">
                  <c:v>3072</c:v>
                </c:pt>
                <c:pt idx="3">
                  <c:v>3410</c:v>
                </c:pt>
                <c:pt idx="4">
                  <c:v>3499</c:v>
                </c:pt>
                <c:pt idx="5">
                  <c:v>3891</c:v>
                </c:pt>
                <c:pt idx="6">
                  <c:v>4203</c:v>
                </c:pt>
                <c:pt idx="7">
                  <c:v>5398</c:v>
                </c:pt>
                <c:pt idx="8">
                  <c:v>6712</c:v>
                </c:pt>
                <c:pt idx="9">
                  <c:v>8209</c:v>
                </c:pt>
                <c:pt idx="10">
                  <c:v>9885</c:v>
                </c:pt>
                <c:pt idx="11">
                  <c:v>11695</c:v>
                </c:pt>
                <c:pt idx="12">
                  <c:v>12104</c:v>
                </c:pt>
                <c:pt idx="13">
                  <c:v>12397</c:v>
                </c:pt>
                <c:pt idx="14">
                  <c:v>14145</c:v>
                </c:pt>
                <c:pt idx="15">
                  <c:v>16093</c:v>
                </c:pt>
                <c:pt idx="16">
                  <c:v>17796</c:v>
                </c:pt>
                <c:pt idx="17">
                  <c:v>19697</c:v>
                </c:pt>
                <c:pt idx="18">
                  <c:v>21500</c:v>
                </c:pt>
                <c:pt idx="19">
                  <c:v>21835</c:v>
                </c:pt>
                <c:pt idx="20">
                  <c:v>22060</c:v>
                </c:pt>
                <c:pt idx="21">
                  <c:v>23618</c:v>
                </c:pt>
                <c:pt idx="22">
                  <c:v>24798</c:v>
                </c:pt>
                <c:pt idx="23">
                  <c:v>25925</c:v>
                </c:pt>
                <c:pt idx="24">
                  <c:v>26925</c:v>
                </c:pt>
                <c:pt idx="25">
                  <c:v>27754</c:v>
                </c:pt>
                <c:pt idx="26">
                  <c:v>27923</c:v>
                </c:pt>
                <c:pt idx="27">
                  <c:v>28005</c:v>
                </c:pt>
                <c:pt idx="28">
                  <c:v>28516</c:v>
                </c:pt>
                <c:pt idx="29">
                  <c:v>29055</c:v>
                </c:pt>
                <c:pt idx="30">
                  <c:v>29454</c:v>
                </c:pt>
                <c:pt idx="31">
                  <c:v>29831</c:v>
                </c:pt>
                <c:pt idx="32">
                  <c:v>30163</c:v>
                </c:pt>
                <c:pt idx="33">
                  <c:v>30188</c:v>
                </c:pt>
                <c:pt idx="34">
                  <c:v>30209</c:v>
                </c:pt>
                <c:pt idx="35">
                  <c:v>30453</c:v>
                </c:pt>
                <c:pt idx="36">
                  <c:v>30690</c:v>
                </c:pt>
                <c:pt idx="37">
                  <c:v>30913</c:v>
                </c:pt>
                <c:pt idx="38">
                  <c:v>31108</c:v>
                </c:pt>
                <c:pt idx="39">
                  <c:v>31384</c:v>
                </c:pt>
                <c:pt idx="40">
                  <c:v>31404</c:v>
                </c:pt>
                <c:pt idx="41">
                  <c:v>31416</c:v>
                </c:pt>
                <c:pt idx="42">
                  <c:v>31552</c:v>
                </c:pt>
                <c:pt idx="43">
                  <c:v>31690</c:v>
                </c:pt>
                <c:pt idx="44">
                  <c:v>31885</c:v>
                </c:pt>
                <c:pt idx="45">
                  <c:v>32117</c:v>
                </c:pt>
                <c:pt idx="46">
                  <c:v>32395</c:v>
                </c:pt>
                <c:pt idx="47">
                  <c:v>32494</c:v>
                </c:pt>
                <c:pt idx="48">
                  <c:v>32558</c:v>
                </c:pt>
                <c:pt idx="49">
                  <c:v>32914</c:v>
                </c:pt>
                <c:pt idx="50">
                  <c:v>33212</c:v>
                </c:pt>
                <c:pt idx="51">
                  <c:v>33473</c:v>
                </c:pt>
                <c:pt idx="52">
                  <c:v>33811</c:v>
                </c:pt>
                <c:pt idx="53">
                  <c:v>34257</c:v>
                </c:pt>
                <c:pt idx="54">
                  <c:v>34363</c:v>
                </c:pt>
                <c:pt idx="55">
                  <c:v>34410</c:v>
                </c:pt>
                <c:pt idx="56">
                  <c:v>34721</c:v>
                </c:pt>
                <c:pt idx="57">
                  <c:v>35202</c:v>
                </c:pt>
                <c:pt idx="58">
                  <c:v>35800</c:v>
                </c:pt>
                <c:pt idx="59">
                  <c:v>36454</c:v>
                </c:pt>
                <c:pt idx="60">
                  <c:v>36997</c:v>
                </c:pt>
                <c:pt idx="61">
                  <c:v>37071</c:v>
                </c:pt>
                <c:pt idx="62">
                  <c:v>37114</c:v>
                </c:pt>
                <c:pt idx="63">
                  <c:v>37661</c:v>
                </c:pt>
                <c:pt idx="64">
                  <c:v>38257</c:v>
                </c:pt>
                <c:pt idx="65">
                  <c:v>38817</c:v>
                </c:pt>
                <c:pt idx="66">
                  <c:v>39361</c:v>
                </c:pt>
                <c:pt idx="67">
                  <c:v>39954</c:v>
                </c:pt>
                <c:pt idx="68">
                  <c:v>40121</c:v>
                </c:pt>
                <c:pt idx="69">
                  <c:v>40230</c:v>
                </c:pt>
                <c:pt idx="70">
                  <c:v>40556</c:v>
                </c:pt>
                <c:pt idx="71">
                  <c:v>40954</c:v>
                </c:pt>
                <c:pt idx="72">
                  <c:v>41357</c:v>
                </c:pt>
                <c:pt idx="73">
                  <c:v>41835</c:v>
                </c:pt>
                <c:pt idx="74">
                  <c:v>42240</c:v>
                </c:pt>
                <c:pt idx="75">
                  <c:v>42379</c:v>
                </c:pt>
                <c:pt idx="76">
                  <c:v>42464</c:v>
                </c:pt>
                <c:pt idx="77">
                  <c:v>42717</c:v>
                </c:pt>
                <c:pt idx="78">
                  <c:v>43079</c:v>
                </c:pt>
                <c:pt idx="79">
                  <c:v>43435</c:v>
                </c:pt>
                <c:pt idx="80">
                  <c:v>43791</c:v>
                </c:pt>
                <c:pt idx="81">
                  <c:v>44121</c:v>
                </c:pt>
                <c:pt idx="82">
                  <c:v>44236</c:v>
                </c:pt>
                <c:pt idx="83">
                  <c:v>44306</c:v>
                </c:pt>
                <c:pt idx="84">
                  <c:v>44480</c:v>
                </c:pt>
                <c:pt idx="85">
                  <c:v>44673</c:v>
                </c:pt>
                <c:pt idx="86">
                  <c:v>44820</c:v>
                </c:pt>
                <c:pt idx="87">
                  <c:v>45014</c:v>
                </c:pt>
                <c:pt idx="88">
                  <c:v>45233</c:v>
                </c:pt>
                <c:pt idx="89">
                  <c:v>45296</c:v>
                </c:pt>
                <c:pt idx="90">
                  <c:v>45338</c:v>
                </c:pt>
                <c:pt idx="91">
                  <c:v>45463</c:v>
                </c:pt>
                <c:pt idx="92">
                  <c:v>45623</c:v>
                </c:pt>
                <c:pt idx="93">
                  <c:v>45782</c:v>
                </c:pt>
                <c:pt idx="94">
                  <c:v>46002</c:v>
                </c:pt>
                <c:pt idx="95">
                  <c:v>46078</c:v>
                </c:pt>
                <c:pt idx="96">
                  <c:v>46098</c:v>
                </c:pt>
                <c:pt idx="97">
                  <c:v>46127</c:v>
                </c:pt>
                <c:pt idx="98">
                  <c:v>46134</c:v>
                </c:pt>
                <c:pt idx="99">
                  <c:v>46224</c:v>
                </c:pt>
                <c:pt idx="100">
                  <c:v>46317</c:v>
                </c:pt>
                <c:pt idx="101">
                  <c:v>46486</c:v>
                </c:pt>
                <c:pt idx="102">
                  <c:v>46686</c:v>
                </c:pt>
                <c:pt idx="103">
                  <c:v>46731</c:v>
                </c:pt>
                <c:pt idx="104">
                  <c:v>46764</c:v>
                </c:pt>
                <c:pt idx="105">
                  <c:v>46900</c:v>
                </c:pt>
                <c:pt idx="106">
                  <c:v>47022</c:v>
                </c:pt>
                <c:pt idx="107">
                  <c:v>47127</c:v>
                </c:pt>
                <c:pt idx="108">
                  <c:v>47284</c:v>
                </c:pt>
                <c:pt idx="109">
                  <c:v>47459</c:v>
                </c:pt>
                <c:pt idx="110">
                  <c:v>47500</c:v>
                </c:pt>
                <c:pt idx="111">
                  <c:v>47555</c:v>
                </c:pt>
                <c:pt idx="112">
                  <c:v>47682</c:v>
                </c:pt>
                <c:pt idx="113">
                  <c:v>47801</c:v>
                </c:pt>
                <c:pt idx="114">
                  <c:v>47935</c:v>
                </c:pt>
                <c:pt idx="115">
                  <c:v>48082</c:v>
                </c:pt>
                <c:pt idx="116">
                  <c:v>48239</c:v>
                </c:pt>
                <c:pt idx="117">
                  <c:v>48295</c:v>
                </c:pt>
                <c:pt idx="118">
                  <c:v>48330</c:v>
                </c:pt>
                <c:pt idx="119">
                  <c:v>48442</c:v>
                </c:pt>
                <c:pt idx="120">
                  <c:v>48563</c:v>
                </c:pt>
                <c:pt idx="121">
                  <c:v>48684</c:v>
                </c:pt>
                <c:pt idx="122">
                  <c:v>48816</c:v>
                </c:pt>
                <c:pt idx="123">
                  <c:v>48955</c:v>
                </c:pt>
                <c:pt idx="124">
                  <c:v>48984</c:v>
                </c:pt>
                <c:pt idx="125">
                  <c:v>49014</c:v>
                </c:pt>
                <c:pt idx="126">
                  <c:v>49135</c:v>
                </c:pt>
                <c:pt idx="127">
                  <c:v>49260</c:v>
                </c:pt>
                <c:pt idx="128">
                  <c:v>49357</c:v>
                </c:pt>
                <c:pt idx="129">
                  <c:v>49474</c:v>
                </c:pt>
                <c:pt idx="130">
                  <c:v>49646</c:v>
                </c:pt>
                <c:pt idx="131">
                  <c:v>49708</c:v>
                </c:pt>
                <c:pt idx="132">
                  <c:v>49740</c:v>
                </c:pt>
                <c:pt idx="133">
                  <c:v>49840</c:v>
                </c:pt>
                <c:pt idx="134">
                  <c:v>49956</c:v>
                </c:pt>
                <c:pt idx="135">
                  <c:v>50086</c:v>
                </c:pt>
                <c:pt idx="136">
                  <c:v>50246</c:v>
                </c:pt>
                <c:pt idx="137">
                  <c:v>50373</c:v>
                </c:pt>
                <c:pt idx="138">
                  <c:v>50444</c:v>
                </c:pt>
                <c:pt idx="139">
                  <c:v>50476</c:v>
                </c:pt>
                <c:pt idx="140">
                  <c:v>50558</c:v>
                </c:pt>
                <c:pt idx="141">
                  <c:v>50650</c:v>
                </c:pt>
                <c:pt idx="142">
                  <c:v>50735</c:v>
                </c:pt>
                <c:pt idx="143">
                  <c:v>50834</c:v>
                </c:pt>
                <c:pt idx="144">
                  <c:v>50941</c:v>
                </c:pt>
                <c:pt idx="145">
                  <c:v>50972</c:v>
                </c:pt>
                <c:pt idx="146">
                  <c:v>50987</c:v>
                </c:pt>
                <c:pt idx="147">
                  <c:v>51036</c:v>
                </c:pt>
                <c:pt idx="148">
                  <c:v>51097</c:v>
                </c:pt>
                <c:pt idx="149">
                  <c:v>51189</c:v>
                </c:pt>
                <c:pt idx="150">
                  <c:v>51270</c:v>
                </c:pt>
                <c:pt idx="151">
                  <c:v>51374</c:v>
                </c:pt>
                <c:pt idx="152">
                  <c:v>51411</c:v>
                </c:pt>
                <c:pt idx="153">
                  <c:v>51444</c:v>
                </c:pt>
                <c:pt idx="154">
                  <c:v>51518</c:v>
                </c:pt>
                <c:pt idx="155">
                  <c:v>51599</c:v>
                </c:pt>
                <c:pt idx="156">
                  <c:v>51693</c:v>
                </c:pt>
                <c:pt idx="157">
                  <c:v>51763</c:v>
                </c:pt>
                <c:pt idx="158">
                  <c:v>51861</c:v>
                </c:pt>
                <c:pt idx="159">
                  <c:v>51888</c:v>
                </c:pt>
                <c:pt idx="160">
                  <c:v>51921</c:v>
                </c:pt>
                <c:pt idx="161">
                  <c:v>52002</c:v>
                </c:pt>
                <c:pt idx="162">
                  <c:v>52100</c:v>
                </c:pt>
                <c:pt idx="163">
                  <c:v>52185</c:v>
                </c:pt>
                <c:pt idx="164">
                  <c:v>52271</c:v>
                </c:pt>
                <c:pt idx="165">
                  <c:v>52366</c:v>
                </c:pt>
                <c:pt idx="166">
                  <c:v>52395</c:v>
                </c:pt>
                <c:pt idx="167">
                  <c:v>52425</c:v>
                </c:pt>
                <c:pt idx="168">
                  <c:v>52495</c:v>
                </c:pt>
                <c:pt idx="169">
                  <c:v>52550</c:v>
                </c:pt>
                <c:pt idx="170">
                  <c:v>52625</c:v>
                </c:pt>
                <c:pt idx="171">
                  <c:v>52703</c:v>
                </c:pt>
                <c:pt idx="172">
                  <c:v>52781</c:v>
                </c:pt>
                <c:pt idx="173">
                  <c:v>52809</c:v>
                </c:pt>
                <c:pt idx="174">
                  <c:v>52834</c:v>
                </c:pt>
                <c:pt idx="175">
                  <c:v>52872</c:v>
                </c:pt>
                <c:pt idx="176">
                  <c:v>52922</c:v>
                </c:pt>
                <c:pt idx="177">
                  <c:v>52977</c:v>
                </c:pt>
                <c:pt idx="178">
                  <c:v>53029</c:v>
                </c:pt>
                <c:pt idx="179">
                  <c:v>53086</c:v>
                </c:pt>
                <c:pt idx="180">
                  <c:v>53100</c:v>
                </c:pt>
                <c:pt idx="181">
                  <c:v>53112</c:v>
                </c:pt>
                <c:pt idx="182">
                  <c:v>53156</c:v>
                </c:pt>
                <c:pt idx="183">
                  <c:v>53202</c:v>
                </c:pt>
                <c:pt idx="184">
                  <c:v>53260</c:v>
                </c:pt>
                <c:pt idx="185">
                  <c:v>53305</c:v>
                </c:pt>
                <c:pt idx="186">
                  <c:v>53360</c:v>
                </c:pt>
                <c:pt idx="187">
                  <c:v>53372</c:v>
                </c:pt>
                <c:pt idx="188">
                  <c:v>53384</c:v>
                </c:pt>
                <c:pt idx="189">
                  <c:v>53390</c:v>
                </c:pt>
                <c:pt idx="190">
                  <c:v>53399</c:v>
                </c:pt>
                <c:pt idx="191">
                  <c:v>53439</c:v>
                </c:pt>
                <c:pt idx="192">
                  <c:v>53494</c:v>
                </c:pt>
                <c:pt idx="193">
                  <c:v>53542</c:v>
                </c:pt>
                <c:pt idx="194">
                  <c:v>53557</c:v>
                </c:pt>
                <c:pt idx="195">
                  <c:v>53571</c:v>
                </c:pt>
                <c:pt idx="196">
                  <c:v>53619</c:v>
                </c:pt>
                <c:pt idx="197">
                  <c:v>53662</c:v>
                </c:pt>
                <c:pt idx="198">
                  <c:v>53708</c:v>
                </c:pt>
                <c:pt idx="199">
                  <c:v>53768</c:v>
                </c:pt>
                <c:pt idx="200">
                  <c:v>53823</c:v>
                </c:pt>
                <c:pt idx="201">
                  <c:v>53845</c:v>
                </c:pt>
                <c:pt idx="202">
                  <c:v>53864</c:v>
                </c:pt>
                <c:pt idx="203">
                  <c:v>53913</c:v>
                </c:pt>
                <c:pt idx="204">
                  <c:v>53959</c:v>
                </c:pt>
                <c:pt idx="205">
                  <c:v>54028</c:v>
                </c:pt>
                <c:pt idx="206">
                  <c:v>54066</c:v>
                </c:pt>
                <c:pt idx="207">
                  <c:v>54099</c:v>
                </c:pt>
                <c:pt idx="208">
                  <c:v>54105</c:v>
                </c:pt>
                <c:pt idx="209">
                  <c:v>54114</c:v>
                </c:pt>
                <c:pt idx="210">
                  <c:v>54154</c:v>
                </c:pt>
                <c:pt idx="211">
                  <c:v>54207</c:v>
                </c:pt>
                <c:pt idx="212">
                  <c:v>54242</c:v>
                </c:pt>
                <c:pt idx="213">
                  <c:v>54270</c:v>
                </c:pt>
                <c:pt idx="214">
                  <c:v>54315</c:v>
                </c:pt>
                <c:pt idx="215">
                  <c:v>54332</c:v>
                </c:pt>
                <c:pt idx="216">
                  <c:v>54345</c:v>
                </c:pt>
                <c:pt idx="217">
                  <c:v>54382</c:v>
                </c:pt>
                <c:pt idx="218">
                  <c:v>54408</c:v>
                </c:pt>
                <c:pt idx="219">
                  <c:v>54448</c:v>
                </c:pt>
                <c:pt idx="220">
                  <c:v>54479</c:v>
                </c:pt>
                <c:pt idx="221">
                  <c:v>54512</c:v>
                </c:pt>
                <c:pt idx="222">
                  <c:v>54525</c:v>
                </c:pt>
                <c:pt idx="223">
                  <c:v>54530</c:v>
                </c:pt>
                <c:pt idx="224">
                  <c:v>54552</c:v>
                </c:pt>
                <c:pt idx="225">
                  <c:v>54567</c:v>
                </c:pt>
                <c:pt idx="226">
                  <c:v>54587</c:v>
                </c:pt>
                <c:pt idx="227">
                  <c:v>54610</c:v>
                </c:pt>
                <c:pt idx="228">
                  <c:v>54635</c:v>
                </c:pt>
                <c:pt idx="229">
                  <c:v>54645</c:v>
                </c:pt>
                <c:pt idx="230">
                  <c:v>54650</c:v>
                </c:pt>
                <c:pt idx="231">
                  <c:v>54667</c:v>
                </c:pt>
                <c:pt idx="232">
                  <c:v>54691</c:v>
                </c:pt>
                <c:pt idx="233">
                  <c:v>54714</c:v>
                </c:pt>
                <c:pt idx="234">
                  <c:v>54736</c:v>
                </c:pt>
                <c:pt idx="235">
                  <c:v>54769</c:v>
                </c:pt>
                <c:pt idx="236">
                  <c:v>54779</c:v>
                </c:pt>
                <c:pt idx="237">
                  <c:v>54782</c:v>
                </c:pt>
                <c:pt idx="238">
                  <c:v>54794</c:v>
                </c:pt>
                <c:pt idx="239">
                  <c:v>54822</c:v>
                </c:pt>
                <c:pt idx="240">
                  <c:v>54846</c:v>
                </c:pt>
                <c:pt idx="241">
                  <c:v>54873</c:v>
                </c:pt>
                <c:pt idx="242">
                  <c:v>54901</c:v>
                </c:pt>
                <c:pt idx="243">
                  <c:v>54903</c:v>
                </c:pt>
                <c:pt idx="244">
                  <c:v>54910</c:v>
                </c:pt>
                <c:pt idx="245">
                  <c:v>54932</c:v>
                </c:pt>
                <c:pt idx="246">
                  <c:v>54957</c:v>
                </c:pt>
                <c:pt idx="247">
                  <c:v>54977</c:v>
                </c:pt>
                <c:pt idx="248">
                  <c:v>55005</c:v>
                </c:pt>
                <c:pt idx="249">
                  <c:v>55031</c:v>
                </c:pt>
                <c:pt idx="250">
                  <c:v>55039</c:v>
                </c:pt>
                <c:pt idx="251">
                  <c:v>55044</c:v>
                </c:pt>
                <c:pt idx="252">
                  <c:v>55057</c:v>
                </c:pt>
                <c:pt idx="253">
                  <c:v>55070</c:v>
                </c:pt>
                <c:pt idx="254">
                  <c:v>55090</c:v>
                </c:pt>
                <c:pt idx="255">
                  <c:v>55118</c:v>
                </c:pt>
                <c:pt idx="256">
                  <c:v>55143</c:v>
                </c:pt>
                <c:pt idx="257">
                  <c:v>55145</c:v>
                </c:pt>
                <c:pt idx="258">
                  <c:v>55148</c:v>
                </c:pt>
                <c:pt idx="259">
                  <c:v>55167</c:v>
                </c:pt>
                <c:pt idx="260">
                  <c:v>55185</c:v>
                </c:pt>
                <c:pt idx="261">
                  <c:v>55200</c:v>
                </c:pt>
                <c:pt idx="262">
                  <c:v>55218</c:v>
                </c:pt>
                <c:pt idx="263">
                  <c:v>55243</c:v>
                </c:pt>
                <c:pt idx="264">
                  <c:v>55248</c:v>
                </c:pt>
                <c:pt idx="265">
                  <c:v>55248</c:v>
                </c:pt>
                <c:pt idx="266">
                  <c:v>55268</c:v>
                </c:pt>
                <c:pt idx="267">
                  <c:v>55276</c:v>
                </c:pt>
                <c:pt idx="268">
                  <c:v>55287</c:v>
                </c:pt>
                <c:pt idx="269">
                  <c:v>55311</c:v>
                </c:pt>
                <c:pt idx="270">
                  <c:v>55337</c:v>
                </c:pt>
                <c:pt idx="271">
                  <c:v>55343</c:v>
                </c:pt>
                <c:pt idx="272">
                  <c:v>55343</c:v>
                </c:pt>
                <c:pt idx="273">
                  <c:v>55355</c:v>
                </c:pt>
                <c:pt idx="274">
                  <c:v>55355</c:v>
                </c:pt>
                <c:pt idx="275">
                  <c:v>55372</c:v>
                </c:pt>
                <c:pt idx="276">
                  <c:v>55387</c:v>
                </c:pt>
                <c:pt idx="277">
                  <c:v>55407</c:v>
                </c:pt>
                <c:pt idx="278">
                  <c:v>55413</c:v>
                </c:pt>
                <c:pt idx="279">
                  <c:v>55413</c:v>
                </c:pt>
                <c:pt idx="280">
                  <c:v>55423</c:v>
                </c:pt>
                <c:pt idx="281">
                  <c:v>55430</c:v>
                </c:pt>
                <c:pt idx="282">
                  <c:v>55442</c:v>
                </c:pt>
                <c:pt idx="283">
                  <c:v>55460</c:v>
                </c:pt>
                <c:pt idx="284">
                  <c:v>55474</c:v>
                </c:pt>
                <c:pt idx="285">
                  <c:v>55480</c:v>
                </c:pt>
                <c:pt idx="286">
                  <c:v>55480</c:v>
                </c:pt>
                <c:pt idx="287">
                  <c:v>55499</c:v>
                </c:pt>
                <c:pt idx="288">
                  <c:v>55517</c:v>
                </c:pt>
                <c:pt idx="289">
                  <c:v>55524</c:v>
                </c:pt>
                <c:pt idx="290">
                  <c:v>55534</c:v>
                </c:pt>
                <c:pt idx="291">
                  <c:v>55551</c:v>
                </c:pt>
                <c:pt idx="292">
                  <c:v>55553</c:v>
                </c:pt>
                <c:pt idx="293">
                  <c:v>55555</c:v>
                </c:pt>
                <c:pt idx="294">
                  <c:v>55576</c:v>
                </c:pt>
                <c:pt idx="295">
                  <c:v>55583</c:v>
                </c:pt>
                <c:pt idx="296">
                  <c:v>55597</c:v>
                </c:pt>
                <c:pt idx="297">
                  <c:v>55622</c:v>
                </c:pt>
                <c:pt idx="298">
                  <c:v>55661</c:v>
                </c:pt>
                <c:pt idx="299">
                  <c:v>55668</c:v>
                </c:pt>
                <c:pt idx="300">
                  <c:v>55674</c:v>
                </c:pt>
                <c:pt idx="301">
                  <c:v>55695</c:v>
                </c:pt>
                <c:pt idx="302">
                  <c:v>55732</c:v>
                </c:pt>
                <c:pt idx="303">
                  <c:v>55779</c:v>
                </c:pt>
                <c:pt idx="304">
                  <c:v>55786</c:v>
                </c:pt>
                <c:pt idx="305">
                  <c:v>55820</c:v>
                </c:pt>
                <c:pt idx="306">
                  <c:v>55832</c:v>
                </c:pt>
                <c:pt idx="307">
                  <c:v>55835</c:v>
                </c:pt>
                <c:pt idx="308">
                  <c:v>55879</c:v>
                </c:pt>
                <c:pt idx="309">
                  <c:v>55918</c:v>
                </c:pt>
                <c:pt idx="310">
                  <c:v>55953</c:v>
                </c:pt>
                <c:pt idx="311">
                  <c:v>56012</c:v>
                </c:pt>
                <c:pt idx="312">
                  <c:v>56075</c:v>
                </c:pt>
                <c:pt idx="313">
                  <c:v>56099</c:v>
                </c:pt>
                <c:pt idx="314">
                  <c:v>56114</c:v>
                </c:pt>
                <c:pt idx="315">
                  <c:v>56144</c:v>
                </c:pt>
                <c:pt idx="316">
                  <c:v>56179</c:v>
                </c:pt>
                <c:pt idx="317">
                  <c:v>56212</c:v>
                </c:pt>
                <c:pt idx="318">
                  <c:v>56246</c:v>
                </c:pt>
                <c:pt idx="319">
                  <c:v>56310</c:v>
                </c:pt>
                <c:pt idx="320">
                  <c:v>56321</c:v>
                </c:pt>
                <c:pt idx="321">
                  <c:v>56330</c:v>
                </c:pt>
                <c:pt idx="322">
                  <c:v>56377</c:v>
                </c:pt>
                <c:pt idx="323">
                  <c:v>56433</c:v>
                </c:pt>
                <c:pt idx="324">
                  <c:v>56448</c:v>
                </c:pt>
                <c:pt idx="325">
                  <c:v>56493</c:v>
                </c:pt>
                <c:pt idx="326">
                  <c:v>56560</c:v>
                </c:pt>
                <c:pt idx="327">
                  <c:v>56586</c:v>
                </c:pt>
                <c:pt idx="328">
                  <c:v>56597</c:v>
                </c:pt>
                <c:pt idx="329">
                  <c:v>56645</c:v>
                </c:pt>
                <c:pt idx="330">
                  <c:v>56694</c:v>
                </c:pt>
                <c:pt idx="331">
                  <c:v>56730</c:v>
                </c:pt>
                <c:pt idx="332">
                  <c:v>56781</c:v>
                </c:pt>
                <c:pt idx="333">
                  <c:v>56841</c:v>
                </c:pt>
                <c:pt idx="334">
                  <c:v>56851</c:v>
                </c:pt>
                <c:pt idx="335">
                  <c:v>56856</c:v>
                </c:pt>
                <c:pt idx="336">
                  <c:v>56886</c:v>
                </c:pt>
                <c:pt idx="337">
                  <c:v>56914</c:v>
                </c:pt>
                <c:pt idx="338">
                  <c:v>56948</c:v>
                </c:pt>
                <c:pt idx="339">
                  <c:v>56974</c:v>
                </c:pt>
                <c:pt idx="340">
                  <c:v>57005</c:v>
                </c:pt>
                <c:pt idx="341">
                  <c:v>57009</c:v>
                </c:pt>
                <c:pt idx="342">
                  <c:v>57011</c:v>
                </c:pt>
                <c:pt idx="343">
                  <c:v>57031</c:v>
                </c:pt>
                <c:pt idx="344">
                  <c:v>57049</c:v>
                </c:pt>
                <c:pt idx="345">
                  <c:v>57073</c:v>
                </c:pt>
                <c:pt idx="346">
                  <c:v>57092</c:v>
                </c:pt>
                <c:pt idx="347">
                  <c:v>57111</c:v>
                </c:pt>
                <c:pt idx="348">
                  <c:v>57115</c:v>
                </c:pt>
                <c:pt idx="349">
                  <c:v>57117</c:v>
                </c:pt>
                <c:pt idx="350">
                  <c:v>57130</c:v>
                </c:pt>
                <c:pt idx="351">
                  <c:v>57141</c:v>
                </c:pt>
                <c:pt idx="352">
                  <c:v>57153</c:v>
                </c:pt>
                <c:pt idx="353">
                  <c:v>57170</c:v>
                </c:pt>
                <c:pt idx="354">
                  <c:v>57187</c:v>
                </c:pt>
                <c:pt idx="355">
                  <c:v>57191</c:v>
                </c:pt>
                <c:pt idx="356">
                  <c:v>57193</c:v>
                </c:pt>
                <c:pt idx="357">
                  <c:v>57202</c:v>
                </c:pt>
                <c:pt idx="358">
                  <c:v>57210</c:v>
                </c:pt>
                <c:pt idx="359">
                  <c:v>57223</c:v>
                </c:pt>
                <c:pt idx="360">
                  <c:v>57225</c:v>
                </c:pt>
                <c:pt idx="361">
                  <c:v>57232</c:v>
                </c:pt>
                <c:pt idx="362">
                  <c:v>57237</c:v>
                </c:pt>
                <c:pt idx="363">
                  <c:v>57240</c:v>
                </c:pt>
                <c:pt idx="364">
                  <c:v>57246</c:v>
                </c:pt>
                <c:pt idx="365">
                  <c:v>57248</c:v>
                </c:pt>
                <c:pt idx="366">
                  <c:v>57249</c:v>
                </c:pt>
                <c:pt idx="367">
                  <c:v>57254</c:v>
                </c:pt>
                <c:pt idx="368">
                  <c:v>57259</c:v>
                </c:pt>
                <c:pt idx="369">
                  <c:v>57269</c:v>
                </c:pt>
                <c:pt idx="370">
                  <c:v>57279</c:v>
                </c:pt>
                <c:pt idx="371">
                  <c:v>57295</c:v>
                </c:pt>
                <c:pt idx="372">
                  <c:v>57298</c:v>
                </c:pt>
                <c:pt idx="373">
                  <c:v>57299</c:v>
                </c:pt>
                <c:pt idx="374">
                  <c:v>57307</c:v>
                </c:pt>
                <c:pt idx="375">
                  <c:v>57314</c:v>
                </c:pt>
                <c:pt idx="376">
                  <c:v>57326</c:v>
                </c:pt>
                <c:pt idx="377">
                  <c:v>57337</c:v>
                </c:pt>
                <c:pt idx="378">
                  <c:v>57349</c:v>
                </c:pt>
                <c:pt idx="379">
                  <c:v>57352</c:v>
                </c:pt>
                <c:pt idx="380">
                  <c:v>57352</c:v>
                </c:pt>
                <c:pt idx="381">
                  <c:v>57361</c:v>
                </c:pt>
                <c:pt idx="382">
                  <c:v>57368</c:v>
                </c:pt>
                <c:pt idx="383">
                  <c:v>57371</c:v>
                </c:pt>
                <c:pt idx="384">
                  <c:v>57378</c:v>
                </c:pt>
                <c:pt idx="385">
                  <c:v>573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783-4536-9939-DB56A099F9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7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2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797528443005752"/>
          <c:y val="0.28604517875847346"/>
          <c:w val="0.10158527092232689"/>
          <c:h val="0.472888534487277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14648495541371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1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A3F-421B-A24A-264CC3DD701B}"/>
                </c:ext>
              </c:extLst>
            </c:dLbl>
            <c:dLbl>
              <c:idx val="1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487-4B41-A7BA-23E0663C99CB}"/>
                </c:ext>
              </c:extLst>
            </c:dLbl>
            <c:dLbl>
              <c:idx val="1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487-4B41-A7BA-23E0663C99CB}"/>
                </c:ext>
              </c:extLst>
            </c:dLbl>
            <c:dLbl>
              <c:idx val="13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A3F-421B-A24A-264CC3DD701B}"/>
                </c:ext>
              </c:extLst>
            </c:dLbl>
            <c:dLbl>
              <c:idx val="13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487-4B41-A7BA-23E0663C99CB}"/>
                </c:ext>
              </c:extLst>
            </c:dLbl>
            <c:dLbl>
              <c:idx val="14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A3F-421B-A24A-264CC3DD701B}"/>
                </c:ext>
              </c:extLst>
            </c:dLbl>
            <c:dLbl>
              <c:idx val="14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487-4B41-A7BA-23E0663C99CB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48</c:f>
              <c:numCache>
                <c:formatCode>m/d/yyyy</c:formatCode>
                <c:ptCount val="214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  <c:pt idx="180">
                  <c:v>44549</c:v>
                </c:pt>
                <c:pt idx="181">
                  <c:v>44550</c:v>
                </c:pt>
                <c:pt idx="182">
                  <c:v>44551</c:v>
                </c:pt>
                <c:pt idx="183">
                  <c:v>44552</c:v>
                </c:pt>
                <c:pt idx="184">
                  <c:v>44553</c:v>
                </c:pt>
                <c:pt idx="185">
                  <c:v>44554</c:v>
                </c:pt>
                <c:pt idx="186">
                  <c:v>44555</c:v>
                </c:pt>
                <c:pt idx="187">
                  <c:v>44556</c:v>
                </c:pt>
                <c:pt idx="188">
                  <c:v>44557</c:v>
                </c:pt>
                <c:pt idx="189">
                  <c:v>44558</c:v>
                </c:pt>
                <c:pt idx="190">
                  <c:v>44559</c:v>
                </c:pt>
                <c:pt idx="191">
                  <c:v>44560</c:v>
                </c:pt>
                <c:pt idx="192">
                  <c:v>44561</c:v>
                </c:pt>
                <c:pt idx="193">
                  <c:v>44562</c:v>
                </c:pt>
                <c:pt idx="194">
                  <c:v>44563</c:v>
                </c:pt>
                <c:pt idx="195">
                  <c:v>44564</c:v>
                </c:pt>
                <c:pt idx="196">
                  <c:v>44565</c:v>
                </c:pt>
                <c:pt idx="197">
                  <c:v>44566</c:v>
                </c:pt>
                <c:pt idx="198">
                  <c:v>44567</c:v>
                </c:pt>
                <c:pt idx="199">
                  <c:v>44568</c:v>
                </c:pt>
                <c:pt idx="200">
                  <c:v>44569</c:v>
                </c:pt>
                <c:pt idx="201">
                  <c:v>44570</c:v>
                </c:pt>
                <c:pt idx="202">
                  <c:v>44571</c:v>
                </c:pt>
                <c:pt idx="203">
                  <c:v>44572</c:v>
                </c:pt>
                <c:pt idx="204">
                  <c:v>44573</c:v>
                </c:pt>
                <c:pt idx="205">
                  <c:v>44574</c:v>
                </c:pt>
                <c:pt idx="206">
                  <c:v>44575</c:v>
                </c:pt>
                <c:pt idx="207">
                  <c:v>44576</c:v>
                </c:pt>
                <c:pt idx="208">
                  <c:v>44577</c:v>
                </c:pt>
                <c:pt idx="209">
                  <c:v>44578</c:v>
                </c:pt>
                <c:pt idx="210">
                  <c:v>44579</c:v>
                </c:pt>
                <c:pt idx="211">
                  <c:v>44580</c:v>
                </c:pt>
                <c:pt idx="212">
                  <c:v>44581</c:v>
                </c:pt>
                <c:pt idx="213">
                  <c:v>44582</c:v>
                </c:pt>
              </c:numCache>
            </c:numRef>
          </c:cat>
          <c:val>
            <c:numRef>
              <c:f>Sheet1!$B$135:$B$348</c:f>
              <c:numCache>
                <c:formatCode>General</c:formatCode>
                <c:ptCount val="214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</c:v>
                </c:pt>
                <c:pt idx="19">
                  <c:v>0</c:v>
                </c:pt>
                <c:pt idx="20">
                  <c:v>2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3</c:v>
                </c:pt>
                <c:pt idx="25">
                  <c:v>2</c:v>
                </c:pt>
                <c:pt idx="26">
                  <c:v>1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4</c:v>
                </c:pt>
                <c:pt idx="31">
                  <c:v>0</c:v>
                </c:pt>
                <c:pt idx="32">
                  <c:v>0</c:v>
                </c:pt>
                <c:pt idx="33">
                  <c:v>1</c:v>
                </c:pt>
                <c:pt idx="34">
                  <c:v>3</c:v>
                </c:pt>
                <c:pt idx="35">
                  <c:v>1</c:v>
                </c:pt>
                <c:pt idx="36">
                  <c:v>1</c:v>
                </c:pt>
                <c:pt idx="37">
                  <c:v>2</c:v>
                </c:pt>
                <c:pt idx="38">
                  <c:v>2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7</c:v>
                </c:pt>
                <c:pt idx="44">
                  <c:v>1</c:v>
                </c:pt>
                <c:pt idx="45">
                  <c:v>2</c:v>
                </c:pt>
                <c:pt idx="46">
                  <c:v>0</c:v>
                </c:pt>
                <c:pt idx="47">
                  <c:v>3</c:v>
                </c:pt>
                <c:pt idx="48">
                  <c:v>2</c:v>
                </c:pt>
                <c:pt idx="49">
                  <c:v>0</c:v>
                </c:pt>
                <c:pt idx="50">
                  <c:v>4</c:v>
                </c:pt>
                <c:pt idx="51">
                  <c:v>1</c:v>
                </c:pt>
                <c:pt idx="52">
                  <c:v>1</c:v>
                </c:pt>
                <c:pt idx="53">
                  <c:v>0</c:v>
                </c:pt>
                <c:pt idx="54">
                  <c:v>0</c:v>
                </c:pt>
                <c:pt idx="55">
                  <c:v>3</c:v>
                </c:pt>
                <c:pt idx="56">
                  <c:v>0</c:v>
                </c:pt>
                <c:pt idx="57">
                  <c:v>0</c:v>
                </c:pt>
                <c:pt idx="58">
                  <c:v>2</c:v>
                </c:pt>
                <c:pt idx="59">
                  <c:v>1</c:v>
                </c:pt>
                <c:pt idx="60">
                  <c:v>0</c:v>
                </c:pt>
                <c:pt idx="61">
                  <c:v>0</c:v>
                </c:pt>
                <c:pt idx="62">
                  <c:v>2</c:v>
                </c:pt>
                <c:pt idx="63">
                  <c:v>0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0</c:v>
                </c:pt>
                <c:pt idx="69">
                  <c:v>0</c:v>
                </c:pt>
                <c:pt idx="70">
                  <c:v>4</c:v>
                </c:pt>
                <c:pt idx="71">
                  <c:v>4</c:v>
                </c:pt>
                <c:pt idx="72">
                  <c:v>1</c:v>
                </c:pt>
                <c:pt idx="73">
                  <c:v>1</c:v>
                </c:pt>
                <c:pt idx="74">
                  <c:v>3</c:v>
                </c:pt>
                <c:pt idx="75">
                  <c:v>1</c:v>
                </c:pt>
                <c:pt idx="76">
                  <c:v>0</c:v>
                </c:pt>
                <c:pt idx="77">
                  <c:v>2</c:v>
                </c:pt>
                <c:pt idx="78">
                  <c:v>0</c:v>
                </c:pt>
                <c:pt idx="79">
                  <c:v>0</c:v>
                </c:pt>
                <c:pt idx="80">
                  <c:v>3</c:v>
                </c:pt>
                <c:pt idx="81">
                  <c:v>3</c:v>
                </c:pt>
                <c:pt idx="82">
                  <c:v>0</c:v>
                </c:pt>
                <c:pt idx="83">
                  <c:v>4</c:v>
                </c:pt>
                <c:pt idx="84">
                  <c:v>2</c:v>
                </c:pt>
                <c:pt idx="85">
                  <c:v>0</c:v>
                </c:pt>
                <c:pt idx="86">
                  <c:v>1</c:v>
                </c:pt>
                <c:pt idx="87">
                  <c:v>2</c:v>
                </c:pt>
                <c:pt idx="88">
                  <c:v>1</c:v>
                </c:pt>
                <c:pt idx="89">
                  <c:v>1</c:v>
                </c:pt>
                <c:pt idx="90">
                  <c:v>0</c:v>
                </c:pt>
                <c:pt idx="91">
                  <c:v>3</c:v>
                </c:pt>
                <c:pt idx="92">
                  <c:v>3</c:v>
                </c:pt>
                <c:pt idx="93">
                  <c:v>2</c:v>
                </c:pt>
                <c:pt idx="94">
                  <c:v>3</c:v>
                </c:pt>
                <c:pt idx="95">
                  <c:v>0</c:v>
                </c:pt>
                <c:pt idx="96">
                  <c:v>2</c:v>
                </c:pt>
                <c:pt idx="97">
                  <c:v>6</c:v>
                </c:pt>
                <c:pt idx="98">
                  <c:v>4</c:v>
                </c:pt>
                <c:pt idx="99">
                  <c:v>3</c:v>
                </c:pt>
                <c:pt idx="100">
                  <c:v>9</c:v>
                </c:pt>
                <c:pt idx="101">
                  <c:v>2</c:v>
                </c:pt>
                <c:pt idx="102">
                  <c:v>5</c:v>
                </c:pt>
                <c:pt idx="103">
                  <c:v>1</c:v>
                </c:pt>
                <c:pt idx="104">
                  <c:v>0</c:v>
                </c:pt>
                <c:pt idx="105">
                  <c:v>2</c:v>
                </c:pt>
                <c:pt idx="106">
                  <c:v>5</c:v>
                </c:pt>
                <c:pt idx="107">
                  <c:v>6</c:v>
                </c:pt>
                <c:pt idx="108">
                  <c:v>6</c:v>
                </c:pt>
                <c:pt idx="109">
                  <c:v>1</c:v>
                </c:pt>
                <c:pt idx="110">
                  <c:v>1</c:v>
                </c:pt>
                <c:pt idx="111">
                  <c:v>3</c:v>
                </c:pt>
                <c:pt idx="112">
                  <c:v>10</c:v>
                </c:pt>
                <c:pt idx="113">
                  <c:v>7</c:v>
                </c:pt>
                <c:pt idx="114">
                  <c:v>7</c:v>
                </c:pt>
                <c:pt idx="115">
                  <c:v>6</c:v>
                </c:pt>
                <c:pt idx="116">
                  <c:v>5</c:v>
                </c:pt>
                <c:pt idx="117">
                  <c:v>8</c:v>
                </c:pt>
                <c:pt idx="118">
                  <c:v>17</c:v>
                </c:pt>
                <c:pt idx="119">
                  <c:v>17</c:v>
                </c:pt>
                <c:pt idx="120">
                  <c:v>13</c:v>
                </c:pt>
                <c:pt idx="121">
                  <c:v>13</c:v>
                </c:pt>
                <c:pt idx="122">
                  <c:v>17</c:v>
                </c:pt>
                <c:pt idx="123">
                  <c:v>15</c:v>
                </c:pt>
                <c:pt idx="124">
                  <c:v>12</c:v>
                </c:pt>
                <c:pt idx="125">
                  <c:v>28</c:v>
                </c:pt>
                <c:pt idx="126">
                  <c:v>20</c:v>
                </c:pt>
                <c:pt idx="127">
                  <c:v>23</c:v>
                </c:pt>
                <c:pt idx="128">
                  <c:v>22</c:v>
                </c:pt>
                <c:pt idx="129">
                  <c:v>38</c:v>
                </c:pt>
                <c:pt idx="130">
                  <c:v>22</c:v>
                </c:pt>
                <c:pt idx="131">
                  <c:v>18</c:v>
                </c:pt>
                <c:pt idx="132">
                  <c:v>57</c:v>
                </c:pt>
                <c:pt idx="133">
                  <c:v>39</c:v>
                </c:pt>
                <c:pt idx="134">
                  <c:v>39</c:v>
                </c:pt>
                <c:pt idx="135">
                  <c:v>27</c:v>
                </c:pt>
                <c:pt idx="136">
                  <c:v>41</c:v>
                </c:pt>
                <c:pt idx="137">
                  <c:v>21</c:v>
                </c:pt>
                <c:pt idx="138">
                  <c:v>19</c:v>
                </c:pt>
                <c:pt idx="139">
                  <c:v>53</c:v>
                </c:pt>
                <c:pt idx="140">
                  <c:v>46</c:v>
                </c:pt>
                <c:pt idx="141">
                  <c:v>48</c:v>
                </c:pt>
                <c:pt idx="142">
                  <c:v>50</c:v>
                </c:pt>
                <c:pt idx="143">
                  <c:v>45</c:v>
                </c:pt>
                <c:pt idx="144">
                  <c:v>50</c:v>
                </c:pt>
                <c:pt idx="145">
                  <c:v>23</c:v>
                </c:pt>
                <c:pt idx="146">
                  <c:v>65</c:v>
                </c:pt>
                <c:pt idx="147">
                  <c:v>62</c:v>
                </c:pt>
                <c:pt idx="148">
                  <c:v>44</c:v>
                </c:pt>
                <c:pt idx="149">
                  <c:v>58</c:v>
                </c:pt>
                <c:pt idx="150">
                  <c:v>84</c:v>
                </c:pt>
                <c:pt idx="151">
                  <c:v>50</c:v>
                </c:pt>
                <c:pt idx="152">
                  <c:v>31</c:v>
                </c:pt>
                <c:pt idx="153">
                  <c:v>63</c:v>
                </c:pt>
                <c:pt idx="154">
                  <c:v>73</c:v>
                </c:pt>
                <c:pt idx="155">
                  <c:v>44</c:v>
                </c:pt>
                <c:pt idx="156">
                  <c:v>71</c:v>
                </c:pt>
                <c:pt idx="157">
                  <c:v>57</c:v>
                </c:pt>
                <c:pt idx="158">
                  <c:v>34</c:v>
                </c:pt>
                <c:pt idx="159">
                  <c:v>42</c:v>
                </c:pt>
                <c:pt idx="160">
                  <c:v>64</c:v>
                </c:pt>
                <c:pt idx="161">
                  <c:v>52</c:v>
                </c:pt>
                <c:pt idx="162">
                  <c:v>57</c:v>
                </c:pt>
                <c:pt idx="163">
                  <c:v>44</c:v>
                </c:pt>
                <c:pt idx="164">
                  <c:v>52</c:v>
                </c:pt>
                <c:pt idx="165">
                  <c:v>27</c:v>
                </c:pt>
                <c:pt idx="166">
                  <c:v>17</c:v>
                </c:pt>
                <c:pt idx="167">
                  <c:v>47</c:v>
                </c:pt>
                <c:pt idx="168">
                  <c:v>45</c:v>
                </c:pt>
                <c:pt idx="169">
                  <c:v>31</c:v>
                </c:pt>
                <c:pt idx="170">
                  <c:v>33</c:v>
                </c:pt>
                <c:pt idx="171">
                  <c:v>34</c:v>
                </c:pt>
                <c:pt idx="172">
                  <c:v>21</c:v>
                </c:pt>
                <c:pt idx="173">
                  <c:v>13</c:v>
                </c:pt>
                <c:pt idx="174">
                  <c:v>30</c:v>
                </c:pt>
                <c:pt idx="175">
                  <c:v>25</c:v>
                </c:pt>
                <c:pt idx="176">
                  <c:v>25</c:v>
                </c:pt>
                <c:pt idx="177">
                  <c:v>16</c:v>
                </c:pt>
                <c:pt idx="178">
                  <c:v>25</c:v>
                </c:pt>
                <c:pt idx="179">
                  <c:v>21</c:v>
                </c:pt>
                <c:pt idx="180">
                  <c:v>15</c:v>
                </c:pt>
                <c:pt idx="181">
                  <c:v>27</c:v>
                </c:pt>
                <c:pt idx="182">
                  <c:v>31</c:v>
                </c:pt>
                <c:pt idx="183">
                  <c:v>22</c:v>
                </c:pt>
                <c:pt idx="184">
                  <c:v>24</c:v>
                </c:pt>
                <c:pt idx="185">
                  <c:v>4</c:v>
                </c:pt>
                <c:pt idx="186">
                  <c:v>12</c:v>
                </c:pt>
                <c:pt idx="187">
                  <c:v>8</c:v>
                </c:pt>
                <c:pt idx="188">
                  <c:v>26</c:v>
                </c:pt>
                <c:pt idx="189">
                  <c:v>34</c:v>
                </c:pt>
                <c:pt idx="190">
                  <c:v>27</c:v>
                </c:pt>
                <c:pt idx="191">
                  <c:v>23</c:v>
                </c:pt>
                <c:pt idx="192">
                  <c:v>21</c:v>
                </c:pt>
                <c:pt idx="193">
                  <c:v>7</c:v>
                </c:pt>
                <c:pt idx="194">
                  <c:v>27</c:v>
                </c:pt>
                <c:pt idx="195">
                  <c:v>41</c:v>
                </c:pt>
                <c:pt idx="196">
                  <c:v>31</c:v>
                </c:pt>
                <c:pt idx="197">
                  <c:v>21</c:v>
                </c:pt>
                <c:pt idx="198">
                  <c:v>26</c:v>
                </c:pt>
                <c:pt idx="199">
                  <c:v>20</c:v>
                </c:pt>
                <c:pt idx="200">
                  <c:v>18</c:v>
                </c:pt>
                <c:pt idx="201">
                  <c:v>16</c:v>
                </c:pt>
                <c:pt idx="202">
                  <c:v>38</c:v>
                </c:pt>
                <c:pt idx="203">
                  <c:v>52</c:v>
                </c:pt>
                <c:pt idx="204">
                  <c:v>80</c:v>
                </c:pt>
                <c:pt idx="205">
                  <c:v>47</c:v>
                </c:pt>
                <c:pt idx="206">
                  <c:v>58</c:v>
                </c:pt>
                <c:pt idx="207">
                  <c:v>41</c:v>
                </c:pt>
                <c:pt idx="208">
                  <c:v>52</c:v>
                </c:pt>
                <c:pt idx="209">
                  <c:v>132</c:v>
                </c:pt>
                <c:pt idx="210">
                  <c:v>112</c:v>
                </c:pt>
                <c:pt idx="211">
                  <c:v>147</c:v>
                </c:pt>
                <c:pt idx="212">
                  <c:v>125</c:v>
                </c:pt>
                <c:pt idx="213">
                  <c:v>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C7-4733-952F-D247528AD3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8.01</c:v>
                </c:pt>
                <c:pt idx="5">
                  <c:v>29.01 - 04.02</c:v>
                </c:pt>
                <c:pt idx="6">
                  <c:v>05.02 - 11.02</c:v>
                </c:pt>
                <c:pt idx="7">
                  <c:v>12.02 - 18.02</c:v>
                </c:pt>
                <c:pt idx="8">
                  <c:v>19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10">
                  <c:v>0.56471970000000005</c:v>
                </c:pt>
                <c:pt idx="11">
                  <c:v>3.1059583000000002</c:v>
                </c:pt>
                <c:pt idx="12">
                  <c:v>12.1414735</c:v>
                </c:pt>
                <c:pt idx="13">
                  <c:v>12.1415764</c:v>
                </c:pt>
                <c:pt idx="14">
                  <c:v>9.0380161000000001</c:v>
                </c:pt>
                <c:pt idx="15">
                  <c:v>4.2381380999999996</c:v>
                </c:pt>
                <c:pt idx="16">
                  <c:v>5.0876345000000001</c:v>
                </c:pt>
                <c:pt idx="17">
                  <c:v>3.6757637000000001</c:v>
                </c:pt>
                <c:pt idx="18">
                  <c:v>1.9799066999999999</c:v>
                </c:pt>
                <c:pt idx="19">
                  <c:v>2.2630834000000002</c:v>
                </c:pt>
                <c:pt idx="20">
                  <c:v>0.56585730000000001</c:v>
                </c:pt>
                <c:pt idx="21">
                  <c:v>0.28296939999999998</c:v>
                </c:pt>
                <c:pt idx="22">
                  <c:v>1.4150436</c:v>
                </c:pt>
                <c:pt idx="23">
                  <c:v>1.4151997999999999</c:v>
                </c:pt>
                <c:pt idx="24">
                  <c:v>0.84920879999999999</c:v>
                </c:pt>
                <c:pt idx="25">
                  <c:v>1.4154962</c:v>
                </c:pt>
                <c:pt idx="26">
                  <c:v>1.1325124</c:v>
                </c:pt>
                <c:pt idx="27">
                  <c:v>0.84941069999999996</c:v>
                </c:pt>
                <c:pt idx="28">
                  <c:v>1.6987927</c:v>
                </c:pt>
                <c:pt idx="29">
                  <c:v>1.132506</c:v>
                </c:pt>
                <c:pt idx="30">
                  <c:v>2.8312168999999998</c:v>
                </c:pt>
                <c:pt idx="31">
                  <c:v>4.8122378000000001</c:v>
                </c:pt>
                <c:pt idx="32">
                  <c:v>3.6780620000000002</c:v>
                </c:pt>
                <c:pt idx="33">
                  <c:v>6.5039362000000001</c:v>
                </c:pt>
                <c:pt idx="34">
                  <c:v>7.3484106999999996</c:v>
                </c:pt>
                <c:pt idx="35">
                  <c:v>8.4734750999999999</c:v>
                </c:pt>
                <c:pt idx="36">
                  <c:v>19.1663754</c:v>
                </c:pt>
                <c:pt idx="37">
                  <c:v>32.052092999999999</c:v>
                </c:pt>
                <c:pt idx="38">
                  <c:v>52.445738200000001</c:v>
                </c:pt>
                <c:pt idx="39">
                  <c:v>57.9116553</c:v>
                </c:pt>
                <c:pt idx="40">
                  <c:v>106.6654752</c:v>
                </c:pt>
                <c:pt idx="41">
                  <c:v>201.70458500000001</c:v>
                </c:pt>
                <c:pt idx="42">
                  <c:v>289.04956479999998</c:v>
                </c:pt>
                <c:pt idx="43">
                  <c:v>291.58091430000002</c:v>
                </c:pt>
                <c:pt idx="44">
                  <c:v>215.9430533</c:v>
                </c:pt>
                <c:pt idx="45">
                  <c:v>126.56925</c:v>
                </c:pt>
                <c:pt idx="46">
                  <c:v>93.990973499999996</c:v>
                </c:pt>
                <c:pt idx="47">
                  <c:v>85.897278999999997</c:v>
                </c:pt>
                <c:pt idx="48">
                  <c:v>93.648570500000005</c:v>
                </c:pt>
                <c:pt idx="49">
                  <c:v>117.2365511</c:v>
                </c:pt>
                <c:pt idx="50">
                  <c:v>135.5412484</c:v>
                </c:pt>
                <c:pt idx="51">
                  <c:v>210.76483469999999</c:v>
                </c:pt>
                <c:pt idx="52">
                  <c:v>176.84668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549-4946-8B42-18535E6234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8.01</c:v>
                </c:pt>
                <c:pt idx="5">
                  <c:v>29.01 - 04.02</c:v>
                </c:pt>
                <c:pt idx="6">
                  <c:v>05.02 - 11.02</c:v>
                </c:pt>
                <c:pt idx="7">
                  <c:v>12.02 - 18.02</c:v>
                </c:pt>
                <c:pt idx="8">
                  <c:v>19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91.333074199999999</c:v>
                </c:pt>
                <c:pt idx="1">
                  <c:v>190.77610050000001</c:v>
                </c:pt>
                <c:pt idx="2">
                  <c:v>123.3634888</c:v>
                </c:pt>
                <c:pt idx="3">
                  <c:v>102.85692040000001</c:v>
                </c:pt>
                <c:pt idx="4">
                  <c:v>66.844485899999995</c:v>
                </c:pt>
                <c:pt idx="5">
                  <c:v>58.713206800000002</c:v>
                </c:pt>
                <c:pt idx="6">
                  <c:v>44.261829599999999</c:v>
                </c:pt>
                <c:pt idx="7">
                  <c:v>40.380748599999997</c:v>
                </c:pt>
                <c:pt idx="8">
                  <c:v>48.197604599999998</c:v>
                </c:pt>
                <c:pt idx="9">
                  <c:v>57.972468599999999</c:v>
                </c:pt>
                <c:pt idx="10">
                  <c:v>31.222210100000002</c:v>
                </c:pt>
                <c:pt idx="11">
                  <c:v>30.946028399999999</c:v>
                </c:pt>
                <c:pt idx="12">
                  <c:v>18.680696699999999</c:v>
                </c:pt>
                <c:pt idx="13">
                  <c:v>16.451404199999999</c:v>
                </c:pt>
                <c:pt idx="14">
                  <c:v>10.3154866</c:v>
                </c:pt>
                <c:pt idx="15">
                  <c:v>7.5256499000000003</c:v>
                </c:pt>
                <c:pt idx="16">
                  <c:v>8.9171264000000008</c:v>
                </c:pt>
                <c:pt idx="17">
                  <c:v>7.8005509999999996</c:v>
                </c:pt>
                <c:pt idx="18">
                  <c:v>5.0141929000000003</c:v>
                </c:pt>
                <c:pt idx="19">
                  <c:v>3.0648436999999999</c:v>
                </c:pt>
                <c:pt idx="20">
                  <c:v>3.0654672000000001</c:v>
                </c:pt>
                <c:pt idx="21">
                  <c:v>2.5086268</c:v>
                </c:pt>
                <c:pt idx="22">
                  <c:v>2.2303443000000001</c:v>
                </c:pt>
                <c:pt idx="23">
                  <c:v>0</c:v>
                </c:pt>
                <c:pt idx="24">
                  <c:v>0.27892440000000002</c:v>
                </c:pt>
                <c:pt idx="25">
                  <c:v>0.2789913</c:v>
                </c:pt>
                <c:pt idx="26">
                  <c:v>0.27905600000000003</c:v>
                </c:pt>
                <c:pt idx="27">
                  <c:v>0.2790069</c:v>
                </c:pt>
                <c:pt idx="28">
                  <c:v>1.3944823</c:v>
                </c:pt>
                <c:pt idx="29">
                  <c:v>4.4605644</c:v>
                </c:pt>
                <c:pt idx="30">
                  <c:v>2.2293995999999998</c:v>
                </c:pt>
                <c:pt idx="31">
                  <c:v>2.5069777000000002</c:v>
                </c:pt>
                <c:pt idx="32">
                  <c:v>2.7840495999999999</c:v>
                </c:pt>
                <c:pt idx="33">
                  <c:v>1.3912849</c:v>
                </c:pt>
                <c:pt idx="34">
                  <c:v>1.3905498000000001</c:v>
                </c:pt>
                <c:pt idx="35">
                  <c:v>3.0572455000000001</c:v>
                </c:pt>
                <c:pt idx="36">
                  <c:v>1.9418660000000001</c:v>
                </c:pt>
                <c:pt idx="37">
                  <c:v>3.5983071</c:v>
                </c:pt>
                <c:pt idx="38">
                  <c:v>3.3141571999999999</c:v>
                </c:pt>
                <c:pt idx="39">
                  <c:v>7.4403325999999996</c:v>
                </c:pt>
                <c:pt idx="40">
                  <c:v>5.7790423999999998</c:v>
                </c:pt>
                <c:pt idx="41">
                  <c:v>9.6300147999999997</c:v>
                </c:pt>
                <c:pt idx="42">
                  <c:v>21.457338400000001</c:v>
                </c:pt>
                <c:pt idx="43">
                  <c:v>36.855915299999999</c:v>
                </c:pt>
                <c:pt idx="44">
                  <c:v>64.079116999999997</c:v>
                </c:pt>
                <c:pt idx="45">
                  <c:v>75.368521799999996</c:v>
                </c:pt>
                <c:pt idx="46">
                  <c:v>91.065911299999996</c:v>
                </c:pt>
                <c:pt idx="47">
                  <c:v>107.8701155</c:v>
                </c:pt>
                <c:pt idx="48">
                  <c:v>89.453070100000005</c:v>
                </c:pt>
                <c:pt idx="49">
                  <c:v>64.429264099999997</c:v>
                </c:pt>
                <c:pt idx="50">
                  <c:v>42.968814500000001</c:v>
                </c:pt>
                <c:pt idx="51">
                  <c:v>42.433711099999996</c:v>
                </c:pt>
                <c:pt idx="52">
                  <c:v>33.6287331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49-4946-8B42-18535E6234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60B6-4916-93FC-CDB9D95E3532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8.01</c:v>
                </c:pt>
                <c:pt idx="5">
                  <c:v>29.01 - 04.02</c:v>
                </c:pt>
                <c:pt idx="6">
                  <c:v>05.02 - 11.02</c:v>
                </c:pt>
                <c:pt idx="7">
                  <c:v>12.02 - 18.02</c:v>
                </c:pt>
                <c:pt idx="8">
                  <c:v>19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13.5119484</c:v>
                </c:pt>
                <c:pt idx="1">
                  <c:v>44.982145099999997</c:v>
                </c:pt>
                <c:pt idx="2">
                  <c:v>76.266690199999999</c:v>
                </c:pt>
                <c:pt idx="3">
                  <c:v>150.2457056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549-4946-8B42-18535E6234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48</c:f>
              <c:numCache>
                <c:formatCode>m/d/yyyy</c:formatCode>
                <c:ptCount val="214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  <c:pt idx="180">
                  <c:v>44549</c:v>
                </c:pt>
                <c:pt idx="181">
                  <c:v>44550</c:v>
                </c:pt>
                <c:pt idx="182">
                  <c:v>44551</c:v>
                </c:pt>
                <c:pt idx="183">
                  <c:v>44552</c:v>
                </c:pt>
                <c:pt idx="184">
                  <c:v>44553</c:v>
                </c:pt>
                <c:pt idx="185">
                  <c:v>44554</c:v>
                </c:pt>
                <c:pt idx="186">
                  <c:v>44555</c:v>
                </c:pt>
                <c:pt idx="187">
                  <c:v>44556</c:v>
                </c:pt>
                <c:pt idx="188">
                  <c:v>44557</c:v>
                </c:pt>
                <c:pt idx="189">
                  <c:v>44558</c:v>
                </c:pt>
                <c:pt idx="190">
                  <c:v>44559</c:v>
                </c:pt>
                <c:pt idx="191">
                  <c:v>44560</c:v>
                </c:pt>
                <c:pt idx="192">
                  <c:v>44561</c:v>
                </c:pt>
                <c:pt idx="193">
                  <c:v>44562</c:v>
                </c:pt>
                <c:pt idx="194">
                  <c:v>44563</c:v>
                </c:pt>
                <c:pt idx="195">
                  <c:v>44564</c:v>
                </c:pt>
                <c:pt idx="196">
                  <c:v>44565</c:v>
                </c:pt>
                <c:pt idx="197">
                  <c:v>44566</c:v>
                </c:pt>
                <c:pt idx="198">
                  <c:v>44567</c:v>
                </c:pt>
                <c:pt idx="199">
                  <c:v>44568</c:v>
                </c:pt>
                <c:pt idx="200">
                  <c:v>44569</c:v>
                </c:pt>
                <c:pt idx="201">
                  <c:v>44570</c:v>
                </c:pt>
                <c:pt idx="202">
                  <c:v>44571</c:v>
                </c:pt>
                <c:pt idx="203">
                  <c:v>44572</c:v>
                </c:pt>
                <c:pt idx="204">
                  <c:v>44573</c:v>
                </c:pt>
                <c:pt idx="205">
                  <c:v>44574</c:v>
                </c:pt>
                <c:pt idx="206">
                  <c:v>44575</c:v>
                </c:pt>
                <c:pt idx="207">
                  <c:v>44576</c:v>
                </c:pt>
                <c:pt idx="208">
                  <c:v>44577</c:v>
                </c:pt>
                <c:pt idx="209">
                  <c:v>44578</c:v>
                </c:pt>
                <c:pt idx="210">
                  <c:v>44579</c:v>
                </c:pt>
                <c:pt idx="211">
                  <c:v>44580</c:v>
                </c:pt>
                <c:pt idx="212">
                  <c:v>44581</c:v>
                </c:pt>
                <c:pt idx="213">
                  <c:v>44582</c:v>
                </c:pt>
              </c:numCache>
            </c:numRef>
          </c:cat>
          <c:val>
            <c:numRef>
              <c:f>Sheet1!$B$135:$B$348</c:f>
              <c:numCache>
                <c:formatCode>General</c:formatCode>
                <c:ptCount val="214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1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2</c:v>
                </c:pt>
                <c:pt idx="11">
                  <c:v>1</c:v>
                </c:pt>
                <c:pt idx="12">
                  <c:v>2</c:v>
                </c:pt>
                <c:pt idx="13">
                  <c:v>1</c:v>
                </c:pt>
                <c:pt idx="14">
                  <c:v>4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0</c:v>
                </c:pt>
                <c:pt idx="25">
                  <c:v>0</c:v>
                </c:pt>
                <c:pt idx="26">
                  <c:v>2</c:v>
                </c:pt>
                <c:pt idx="27">
                  <c:v>5</c:v>
                </c:pt>
                <c:pt idx="28">
                  <c:v>1</c:v>
                </c:pt>
                <c:pt idx="29">
                  <c:v>4</c:v>
                </c:pt>
                <c:pt idx="30">
                  <c:v>0</c:v>
                </c:pt>
                <c:pt idx="31">
                  <c:v>4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2</c:v>
                </c:pt>
                <c:pt idx="38">
                  <c:v>1</c:v>
                </c:pt>
                <c:pt idx="39">
                  <c:v>1</c:v>
                </c:pt>
                <c:pt idx="40">
                  <c:v>0</c:v>
                </c:pt>
                <c:pt idx="41">
                  <c:v>0</c:v>
                </c:pt>
                <c:pt idx="42">
                  <c:v>2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0</c:v>
                </c:pt>
                <c:pt idx="47">
                  <c:v>0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1</c:v>
                </c:pt>
                <c:pt idx="52">
                  <c:v>2</c:v>
                </c:pt>
                <c:pt idx="53">
                  <c:v>3</c:v>
                </c:pt>
                <c:pt idx="54">
                  <c:v>1</c:v>
                </c:pt>
                <c:pt idx="55">
                  <c:v>3</c:v>
                </c:pt>
                <c:pt idx="56">
                  <c:v>3</c:v>
                </c:pt>
                <c:pt idx="57">
                  <c:v>2</c:v>
                </c:pt>
                <c:pt idx="58">
                  <c:v>1</c:v>
                </c:pt>
                <c:pt idx="59">
                  <c:v>0</c:v>
                </c:pt>
                <c:pt idx="60">
                  <c:v>0</c:v>
                </c:pt>
                <c:pt idx="61">
                  <c:v>1</c:v>
                </c:pt>
                <c:pt idx="62">
                  <c:v>5</c:v>
                </c:pt>
                <c:pt idx="63">
                  <c:v>2</c:v>
                </c:pt>
                <c:pt idx="64">
                  <c:v>0</c:v>
                </c:pt>
                <c:pt idx="65">
                  <c:v>2</c:v>
                </c:pt>
                <c:pt idx="66">
                  <c:v>1</c:v>
                </c:pt>
                <c:pt idx="67">
                  <c:v>2</c:v>
                </c:pt>
                <c:pt idx="68">
                  <c:v>1</c:v>
                </c:pt>
                <c:pt idx="69">
                  <c:v>0</c:v>
                </c:pt>
                <c:pt idx="70">
                  <c:v>2</c:v>
                </c:pt>
                <c:pt idx="71">
                  <c:v>1</c:v>
                </c:pt>
                <c:pt idx="72">
                  <c:v>6</c:v>
                </c:pt>
                <c:pt idx="73">
                  <c:v>6</c:v>
                </c:pt>
                <c:pt idx="74">
                  <c:v>1</c:v>
                </c:pt>
                <c:pt idx="75">
                  <c:v>1</c:v>
                </c:pt>
                <c:pt idx="76">
                  <c:v>2</c:v>
                </c:pt>
                <c:pt idx="77">
                  <c:v>6</c:v>
                </c:pt>
                <c:pt idx="78">
                  <c:v>1</c:v>
                </c:pt>
                <c:pt idx="79">
                  <c:v>4</c:v>
                </c:pt>
                <c:pt idx="80">
                  <c:v>0</c:v>
                </c:pt>
                <c:pt idx="81">
                  <c:v>1</c:v>
                </c:pt>
                <c:pt idx="82">
                  <c:v>2</c:v>
                </c:pt>
                <c:pt idx="83">
                  <c:v>3</c:v>
                </c:pt>
                <c:pt idx="84">
                  <c:v>5</c:v>
                </c:pt>
                <c:pt idx="85">
                  <c:v>3</c:v>
                </c:pt>
                <c:pt idx="86">
                  <c:v>8</c:v>
                </c:pt>
                <c:pt idx="87">
                  <c:v>6</c:v>
                </c:pt>
                <c:pt idx="88">
                  <c:v>2</c:v>
                </c:pt>
                <c:pt idx="89">
                  <c:v>2</c:v>
                </c:pt>
                <c:pt idx="90">
                  <c:v>10</c:v>
                </c:pt>
                <c:pt idx="91">
                  <c:v>7</c:v>
                </c:pt>
                <c:pt idx="92">
                  <c:v>6</c:v>
                </c:pt>
                <c:pt idx="93">
                  <c:v>5</c:v>
                </c:pt>
                <c:pt idx="94">
                  <c:v>7</c:v>
                </c:pt>
                <c:pt idx="95">
                  <c:v>6</c:v>
                </c:pt>
                <c:pt idx="96">
                  <c:v>6</c:v>
                </c:pt>
                <c:pt idx="97">
                  <c:v>5</c:v>
                </c:pt>
                <c:pt idx="98">
                  <c:v>9</c:v>
                </c:pt>
                <c:pt idx="99">
                  <c:v>12</c:v>
                </c:pt>
                <c:pt idx="100">
                  <c:v>16</c:v>
                </c:pt>
                <c:pt idx="101">
                  <c:v>8</c:v>
                </c:pt>
                <c:pt idx="102">
                  <c:v>5</c:v>
                </c:pt>
                <c:pt idx="103">
                  <c:v>8</c:v>
                </c:pt>
                <c:pt idx="104">
                  <c:v>10</c:v>
                </c:pt>
                <c:pt idx="105">
                  <c:v>13</c:v>
                </c:pt>
                <c:pt idx="106">
                  <c:v>9</c:v>
                </c:pt>
                <c:pt idx="107">
                  <c:v>8</c:v>
                </c:pt>
                <c:pt idx="108">
                  <c:v>9</c:v>
                </c:pt>
                <c:pt idx="109">
                  <c:v>5</c:v>
                </c:pt>
                <c:pt idx="110">
                  <c:v>4</c:v>
                </c:pt>
                <c:pt idx="111">
                  <c:v>18</c:v>
                </c:pt>
                <c:pt idx="112">
                  <c:v>19</c:v>
                </c:pt>
                <c:pt idx="113">
                  <c:v>22</c:v>
                </c:pt>
                <c:pt idx="114">
                  <c:v>21</c:v>
                </c:pt>
                <c:pt idx="115">
                  <c:v>17</c:v>
                </c:pt>
                <c:pt idx="116">
                  <c:v>10</c:v>
                </c:pt>
                <c:pt idx="117">
                  <c:v>10</c:v>
                </c:pt>
                <c:pt idx="118">
                  <c:v>35</c:v>
                </c:pt>
                <c:pt idx="119">
                  <c:v>29</c:v>
                </c:pt>
                <c:pt idx="120">
                  <c:v>26</c:v>
                </c:pt>
                <c:pt idx="121">
                  <c:v>53</c:v>
                </c:pt>
                <c:pt idx="122">
                  <c:v>43</c:v>
                </c:pt>
                <c:pt idx="123">
                  <c:v>34</c:v>
                </c:pt>
                <c:pt idx="124">
                  <c:v>11</c:v>
                </c:pt>
                <c:pt idx="125">
                  <c:v>65</c:v>
                </c:pt>
                <c:pt idx="126">
                  <c:v>68</c:v>
                </c:pt>
                <c:pt idx="127">
                  <c:v>77</c:v>
                </c:pt>
                <c:pt idx="128">
                  <c:v>35</c:v>
                </c:pt>
                <c:pt idx="129">
                  <c:v>82</c:v>
                </c:pt>
                <c:pt idx="130">
                  <c:v>63</c:v>
                </c:pt>
                <c:pt idx="131">
                  <c:v>37</c:v>
                </c:pt>
                <c:pt idx="132">
                  <c:v>111</c:v>
                </c:pt>
                <c:pt idx="133">
                  <c:v>104</c:v>
                </c:pt>
                <c:pt idx="134">
                  <c:v>117</c:v>
                </c:pt>
                <c:pt idx="135">
                  <c:v>102</c:v>
                </c:pt>
                <c:pt idx="136">
                  <c:v>112</c:v>
                </c:pt>
                <c:pt idx="137">
                  <c:v>83</c:v>
                </c:pt>
                <c:pt idx="138">
                  <c:v>28</c:v>
                </c:pt>
                <c:pt idx="139">
                  <c:v>134</c:v>
                </c:pt>
                <c:pt idx="140">
                  <c:v>147</c:v>
                </c:pt>
                <c:pt idx="141">
                  <c:v>168</c:v>
                </c:pt>
                <c:pt idx="142">
                  <c:v>96</c:v>
                </c:pt>
                <c:pt idx="143">
                  <c:v>161</c:v>
                </c:pt>
                <c:pt idx="144">
                  <c:v>97</c:v>
                </c:pt>
                <c:pt idx="145">
                  <c:v>54</c:v>
                </c:pt>
                <c:pt idx="146">
                  <c:v>160</c:v>
                </c:pt>
                <c:pt idx="147">
                  <c:v>229</c:v>
                </c:pt>
                <c:pt idx="148">
                  <c:v>121</c:v>
                </c:pt>
                <c:pt idx="149">
                  <c:v>167</c:v>
                </c:pt>
                <c:pt idx="150">
                  <c:v>236</c:v>
                </c:pt>
                <c:pt idx="151">
                  <c:v>154</c:v>
                </c:pt>
                <c:pt idx="152">
                  <c:v>84</c:v>
                </c:pt>
                <c:pt idx="153">
                  <c:v>192</c:v>
                </c:pt>
                <c:pt idx="154">
                  <c:v>259</c:v>
                </c:pt>
                <c:pt idx="155">
                  <c:v>141</c:v>
                </c:pt>
                <c:pt idx="156">
                  <c:v>214</c:v>
                </c:pt>
                <c:pt idx="157">
                  <c:v>188</c:v>
                </c:pt>
                <c:pt idx="158">
                  <c:v>108</c:v>
                </c:pt>
                <c:pt idx="159">
                  <c:v>78</c:v>
                </c:pt>
                <c:pt idx="160">
                  <c:v>200</c:v>
                </c:pt>
                <c:pt idx="161">
                  <c:v>164</c:v>
                </c:pt>
                <c:pt idx="162">
                  <c:v>175</c:v>
                </c:pt>
                <c:pt idx="163">
                  <c:v>145</c:v>
                </c:pt>
                <c:pt idx="164">
                  <c:v>146</c:v>
                </c:pt>
                <c:pt idx="165">
                  <c:v>86</c:v>
                </c:pt>
                <c:pt idx="166">
                  <c:v>65</c:v>
                </c:pt>
                <c:pt idx="167">
                  <c:v>167</c:v>
                </c:pt>
                <c:pt idx="168">
                  <c:v>153</c:v>
                </c:pt>
                <c:pt idx="169">
                  <c:v>120</c:v>
                </c:pt>
                <c:pt idx="170">
                  <c:v>127</c:v>
                </c:pt>
                <c:pt idx="171">
                  <c:v>112</c:v>
                </c:pt>
                <c:pt idx="172">
                  <c:v>74</c:v>
                </c:pt>
                <c:pt idx="173">
                  <c:v>58</c:v>
                </c:pt>
                <c:pt idx="174">
                  <c:v>103</c:v>
                </c:pt>
                <c:pt idx="175">
                  <c:v>125</c:v>
                </c:pt>
                <c:pt idx="176">
                  <c:v>86</c:v>
                </c:pt>
                <c:pt idx="177">
                  <c:v>66</c:v>
                </c:pt>
                <c:pt idx="178">
                  <c:v>81</c:v>
                </c:pt>
                <c:pt idx="179">
                  <c:v>48</c:v>
                </c:pt>
                <c:pt idx="180">
                  <c:v>33</c:v>
                </c:pt>
                <c:pt idx="181">
                  <c:v>90</c:v>
                </c:pt>
                <c:pt idx="182">
                  <c:v>83</c:v>
                </c:pt>
                <c:pt idx="183">
                  <c:v>52</c:v>
                </c:pt>
                <c:pt idx="184">
                  <c:v>60</c:v>
                </c:pt>
                <c:pt idx="185">
                  <c:v>22</c:v>
                </c:pt>
                <c:pt idx="186">
                  <c:v>18</c:v>
                </c:pt>
                <c:pt idx="187">
                  <c:v>18</c:v>
                </c:pt>
                <c:pt idx="188">
                  <c:v>75</c:v>
                </c:pt>
                <c:pt idx="189">
                  <c:v>91</c:v>
                </c:pt>
                <c:pt idx="190">
                  <c:v>56</c:v>
                </c:pt>
                <c:pt idx="191">
                  <c:v>53</c:v>
                </c:pt>
                <c:pt idx="192">
                  <c:v>52</c:v>
                </c:pt>
                <c:pt idx="193">
                  <c:v>12</c:v>
                </c:pt>
                <c:pt idx="194">
                  <c:v>36</c:v>
                </c:pt>
                <c:pt idx="195">
                  <c:v>98</c:v>
                </c:pt>
                <c:pt idx="196">
                  <c:v>80</c:v>
                </c:pt>
                <c:pt idx="197">
                  <c:v>56</c:v>
                </c:pt>
                <c:pt idx="198">
                  <c:v>59</c:v>
                </c:pt>
                <c:pt idx="199">
                  <c:v>67</c:v>
                </c:pt>
                <c:pt idx="200">
                  <c:v>37</c:v>
                </c:pt>
                <c:pt idx="201">
                  <c:v>30</c:v>
                </c:pt>
                <c:pt idx="202">
                  <c:v>71</c:v>
                </c:pt>
                <c:pt idx="203">
                  <c:v>106</c:v>
                </c:pt>
                <c:pt idx="204">
                  <c:v>117</c:v>
                </c:pt>
                <c:pt idx="205">
                  <c:v>97</c:v>
                </c:pt>
                <c:pt idx="206">
                  <c:v>113</c:v>
                </c:pt>
                <c:pt idx="207">
                  <c:v>92</c:v>
                </c:pt>
                <c:pt idx="208">
                  <c:v>68</c:v>
                </c:pt>
                <c:pt idx="209">
                  <c:v>238</c:v>
                </c:pt>
                <c:pt idx="210">
                  <c:v>270</c:v>
                </c:pt>
                <c:pt idx="211">
                  <c:v>288</c:v>
                </c:pt>
                <c:pt idx="212">
                  <c:v>291</c:v>
                </c:pt>
                <c:pt idx="213">
                  <c:v>3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8.01</c:v>
                </c:pt>
                <c:pt idx="5">
                  <c:v>29.01 - 04.02</c:v>
                </c:pt>
                <c:pt idx="6">
                  <c:v>05.02 - 11.02</c:v>
                </c:pt>
                <c:pt idx="7">
                  <c:v>12.02 - 18.02</c:v>
                </c:pt>
                <c:pt idx="8">
                  <c:v>19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10">
                  <c:v>0</c:v>
                </c:pt>
                <c:pt idx="11">
                  <c:v>1.4093757</c:v>
                </c:pt>
                <c:pt idx="12">
                  <c:v>4.7918773999999997</c:v>
                </c:pt>
                <c:pt idx="13">
                  <c:v>10.288486300000001</c:v>
                </c:pt>
                <c:pt idx="14">
                  <c:v>14.9415306</c:v>
                </c:pt>
                <c:pt idx="15">
                  <c:v>7.6132040999999999</c:v>
                </c:pt>
                <c:pt idx="16">
                  <c:v>7.1916272000000001</c:v>
                </c:pt>
                <c:pt idx="17">
                  <c:v>4.3722320000000003</c:v>
                </c:pt>
                <c:pt idx="18">
                  <c:v>5.3602813999999999</c:v>
                </c:pt>
                <c:pt idx="19">
                  <c:v>2.3980849000000002</c:v>
                </c:pt>
                <c:pt idx="20">
                  <c:v>0.70533500000000005</c:v>
                </c:pt>
                <c:pt idx="21">
                  <c:v>0.84642110000000004</c:v>
                </c:pt>
                <c:pt idx="22">
                  <c:v>1.2696620999999999</c:v>
                </c:pt>
                <c:pt idx="23">
                  <c:v>2.2572725999999999</c:v>
                </c:pt>
                <c:pt idx="24">
                  <c:v>2.1162885999999999</c:v>
                </c:pt>
                <c:pt idx="25">
                  <c:v>1.8341970000000001</c:v>
                </c:pt>
                <c:pt idx="26">
                  <c:v>0.84658949999999999</c:v>
                </c:pt>
                <c:pt idx="27">
                  <c:v>1.8341608</c:v>
                </c:pt>
                <c:pt idx="28">
                  <c:v>3.6678869000000001</c:v>
                </c:pt>
                <c:pt idx="29">
                  <c:v>2.2568937</c:v>
                </c:pt>
                <c:pt idx="30">
                  <c:v>5.6415658999999998</c:v>
                </c:pt>
                <c:pt idx="31">
                  <c:v>3.5256554000000002</c:v>
                </c:pt>
                <c:pt idx="32">
                  <c:v>3.8075844000000001</c:v>
                </c:pt>
                <c:pt idx="33">
                  <c:v>4.7945871000000002</c:v>
                </c:pt>
                <c:pt idx="34">
                  <c:v>6.3455803</c:v>
                </c:pt>
                <c:pt idx="35">
                  <c:v>10.151811800000001</c:v>
                </c:pt>
                <c:pt idx="36">
                  <c:v>14.3667839</c:v>
                </c:pt>
                <c:pt idx="37">
                  <c:v>32.213050600000003</c:v>
                </c:pt>
                <c:pt idx="38">
                  <c:v>41.0220099</c:v>
                </c:pt>
                <c:pt idx="39">
                  <c:v>55.981535899999997</c:v>
                </c:pt>
                <c:pt idx="40">
                  <c:v>107.7492594</c:v>
                </c:pt>
                <c:pt idx="41">
                  <c:v>217.0897654</c:v>
                </c:pt>
                <c:pt idx="42">
                  <c:v>359.3355229</c:v>
                </c:pt>
                <c:pt idx="43">
                  <c:v>448.76495349999999</c:v>
                </c:pt>
                <c:pt idx="44">
                  <c:v>384.25208270000002</c:v>
                </c:pt>
                <c:pt idx="45">
                  <c:v>251.30881289999999</c:v>
                </c:pt>
                <c:pt idx="46">
                  <c:v>180.04118800000001</c:v>
                </c:pt>
                <c:pt idx="47">
                  <c:v>169.42668950000001</c:v>
                </c:pt>
                <c:pt idx="48">
                  <c:v>133.8157927</c:v>
                </c:pt>
                <c:pt idx="49">
                  <c:v>169.76773879999999</c:v>
                </c:pt>
                <c:pt idx="50">
                  <c:v>166.83747969999999</c:v>
                </c:pt>
                <c:pt idx="51">
                  <c:v>205.75732550000001</c:v>
                </c:pt>
                <c:pt idx="52">
                  <c:v>207.0909262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C63-4AAB-97B9-1EE2E94FBFD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8.01</c:v>
                </c:pt>
                <c:pt idx="5">
                  <c:v>29.01 - 04.02</c:v>
                </c:pt>
                <c:pt idx="6">
                  <c:v>05.02 - 11.02</c:v>
                </c:pt>
                <c:pt idx="7">
                  <c:v>12.02 - 18.02</c:v>
                </c:pt>
                <c:pt idx="8">
                  <c:v>19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78.456442100000004</c:v>
                </c:pt>
                <c:pt idx="1">
                  <c:v>264.11887009999998</c:v>
                </c:pt>
                <c:pt idx="2">
                  <c:v>175.5115045</c:v>
                </c:pt>
                <c:pt idx="3">
                  <c:v>139.4555135</c:v>
                </c:pt>
                <c:pt idx="4">
                  <c:v>110.20915460000001</c:v>
                </c:pt>
                <c:pt idx="5">
                  <c:v>93.126539600000001</c:v>
                </c:pt>
                <c:pt idx="6">
                  <c:v>88.6922268</c:v>
                </c:pt>
                <c:pt idx="7">
                  <c:v>88.695550699999998</c:v>
                </c:pt>
                <c:pt idx="8">
                  <c:v>103.6902341</c:v>
                </c:pt>
                <c:pt idx="9">
                  <c:v>105.3483365</c:v>
                </c:pt>
                <c:pt idx="10">
                  <c:v>91.007337399999997</c:v>
                </c:pt>
                <c:pt idx="11">
                  <c:v>78.756861700000002</c:v>
                </c:pt>
                <c:pt idx="12">
                  <c:v>57.927391200000002</c:v>
                </c:pt>
                <c:pt idx="13">
                  <c:v>41.690616800000001</c:v>
                </c:pt>
                <c:pt idx="14">
                  <c:v>34.460949100000001</c:v>
                </c:pt>
                <c:pt idx="15">
                  <c:v>21.017321299999999</c:v>
                </c:pt>
                <c:pt idx="16">
                  <c:v>17.820903999999999</c:v>
                </c:pt>
                <c:pt idx="17">
                  <c:v>9.1094165</c:v>
                </c:pt>
                <c:pt idx="18">
                  <c:v>10.2087834</c:v>
                </c:pt>
                <c:pt idx="19">
                  <c:v>9.2463276000000008</c:v>
                </c:pt>
                <c:pt idx="20">
                  <c:v>3.8655666000000002</c:v>
                </c:pt>
                <c:pt idx="21">
                  <c:v>3.0383466000000001</c:v>
                </c:pt>
                <c:pt idx="22">
                  <c:v>1.6578386000000001</c:v>
                </c:pt>
                <c:pt idx="23">
                  <c:v>0.82903269999999996</c:v>
                </c:pt>
                <c:pt idx="24">
                  <c:v>0.82912090000000005</c:v>
                </c:pt>
                <c:pt idx="25">
                  <c:v>0.82920680000000002</c:v>
                </c:pt>
                <c:pt idx="26">
                  <c:v>0.69106389999999995</c:v>
                </c:pt>
                <c:pt idx="27">
                  <c:v>0.96689219999999998</c:v>
                </c:pt>
                <c:pt idx="28">
                  <c:v>1.3799554999999999</c:v>
                </c:pt>
                <c:pt idx="29">
                  <c:v>1.2407733999999999</c:v>
                </c:pt>
                <c:pt idx="30">
                  <c:v>1.3773230999999999</c:v>
                </c:pt>
                <c:pt idx="31">
                  <c:v>0.68827479999999996</c:v>
                </c:pt>
                <c:pt idx="32">
                  <c:v>1.1015809000000001</c:v>
                </c:pt>
                <c:pt idx="33">
                  <c:v>2.0661497999999998</c:v>
                </c:pt>
                <c:pt idx="34">
                  <c:v>1.102314</c:v>
                </c:pt>
                <c:pt idx="35">
                  <c:v>1.6539063000000001</c:v>
                </c:pt>
                <c:pt idx="36">
                  <c:v>2.7548778</c:v>
                </c:pt>
                <c:pt idx="37">
                  <c:v>2.7526028999999999</c:v>
                </c:pt>
                <c:pt idx="38">
                  <c:v>5.0881137000000001</c:v>
                </c:pt>
                <c:pt idx="39">
                  <c:v>7.9693756000000002</c:v>
                </c:pt>
                <c:pt idx="40">
                  <c:v>8.1029152</c:v>
                </c:pt>
                <c:pt idx="41">
                  <c:v>12.4975966</c:v>
                </c:pt>
                <c:pt idx="42">
                  <c:v>22.934960799999999</c:v>
                </c:pt>
                <c:pt idx="43">
                  <c:v>41.749524800000003</c:v>
                </c:pt>
                <c:pt idx="44">
                  <c:v>78.8300196</c:v>
                </c:pt>
                <c:pt idx="45">
                  <c:v>98.612150700000001</c:v>
                </c:pt>
                <c:pt idx="46">
                  <c:v>124.5778158</c:v>
                </c:pt>
                <c:pt idx="47">
                  <c:v>162.35951499999999</c:v>
                </c:pt>
                <c:pt idx="48">
                  <c:v>133.802604</c:v>
                </c:pt>
                <c:pt idx="49">
                  <c:v>107.760398</c:v>
                </c:pt>
                <c:pt idx="50">
                  <c:v>78.260821699999994</c:v>
                </c:pt>
                <c:pt idx="51">
                  <c:v>55.878839200000002</c:v>
                </c:pt>
                <c:pt idx="52">
                  <c:v>41.5926972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C63-4AAB-97B9-1EE2E94FBFD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BC63-4AAB-97B9-1EE2E94FBFD2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8.01</c:v>
                </c:pt>
                <c:pt idx="5">
                  <c:v>29.01 - 04.02</c:v>
                </c:pt>
                <c:pt idx="6">
                  <c:v>05.02 - 11.02</c:v>
                </c:pt>
                <c:pt idx="7">
                  <c:v>12.02 - 18.02</c:v>
                </c:pt>
                <c:pt idx="8">
                  <c:v>19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9.6475740999999999</c:v>
                </c:pt>
                <c:pt idx="1">
                  <c:v>49.681692099999999</c:v>
                </c:pt>
                <c:pt idx="2">
                  <c:v>65.842710600000004</c:v>
                </c:pt>
                <c:pt idx="3">
                  <c:v>147.6590835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C63-4AAB-97B9-1EE2E94FBF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48</c:f>
              <c:numCache>
                <c:formatCode>m/d/yyyy</c:formatCode>
                <c:ptCount val="214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  <c:pt idx="180">
                  <c:v>44549</c:v>
                </c:pt>
                <c:pt idx="181">
                  <c:v>44550</c:v>
                </c:pt>
                <c:pt idx="182">
                  <c:v>44551</c:v>
                </c:pt>
                <c:pt idx="183">
                  <c:v>44552</c:v>
                </c:pt>
                <c:pt idx="184">
                  <c:v>44553</c:v>
                </c:pt>
                <c:pt idx="185">
                  <c:v>44554</c:v>
                </c:pt>
                <c:pt idx="186">
                  <c:v>44555</c:v>
                </c:pt>
                <c:pt idx="187">
                  <c:v>44556</c:v>
                </c:pt>
                <c:pt idx="188">
                  <c:v>44557</c:v>
                </c:pt>
                <c:pt idx="189">
                  <c:v>44558</c:v>
                </c:pt>
                <c:pt idx="190">
                  <c:v>44559</c:v>
                </c:pt>
                <c:pt idx="191">
                  <c:v>44560</c:v>
                </c:pt>
                <c:pt idx="192">
                  <c:v>44561</c:v>
                </c:pt>
                <c:pt idx="193">
                  <c:v>44562</c:v>
                </c:pt>
                <c:pt idx="194">
                  <c:v>44563</c:v>
                </c:pt>
                <c:pt idx="195">
                  <c:v>44564</c:v>
                </c:pt>
                <c:pt idx="196">
                  <c:v>44565</c:v>
                </c:pt>
                <c:pt idx="197">
                  <c:v>44566</c:v>
                </c:pt>
                <c:pt idx="198">
                  <c:v>44567</c:v>
                </c:pt>
                <c:pt idx="199">
                  <c:v>44568</c:v>
                </c:pt>
                <c:pt idx="200">
                  <c:v>44569</c:v>
                </c:pt>
                <c:pt idx="201">
                  <c:v>44570</c:v>
                </c:pt>
                <c:pt idx="202">
                  <c:v>44571</c:v>
                </c:pt>
                <c:pt idx="203">
                  <c:v>44572</c:v>
                </c:pt>
                <c:pt idx="204">
                  <c:v>44573</c:v>
                </c:pt>
                <c:pt idx="205">
                  <c:v>44574</c:v>
                </c:pt>
                <c:pt idx="206">
                  <c:v>44575</c:v>
                </c:pt>
                <c:pt idx="207">
                  <c:v>44576</c:v>
                </c:pt>
                <c:pt idx="208">
                  <c:v>44577</c:v>
                </c:pt>
                <c:pt idx="209">
                  <c:v>44578</c:v>
                </c:pt>
                <c:pt idx="210">
                  <c:v>44579</c:v>
                </c:pt>
                <c:pt idx="211">
                  <c:v>44580</c:v>
                </c:pt>
                <c:pt idx="212">
                  <c:v>44581</c:v>
                </c:pt>
                <c:pt idx="213">
                  <c:v>44582</c:v>
                </c:pt>
              </c:numCache>
            </c:numRef>
          </c:cat>
          <c:val>
            <c:numRef>
              <c:f>Sheet1!$B$135:$B$348</c:f>
              <c:numCache>
                <c:formatCode>General</c:formatCode>
                <c:ptCount val="214"/>
                <c:pt idx="0">
                  <c:v>2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2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5</c:v>
                </c:pt>
                <c:pt idx="18">
                  <c:v>4</c:v>
                </c:pt>
                <c:pt idx="19">
                  <c:v>0</c:v>
                </c:pt>
                <c:pt idx="20">
                  <c:v>3</c:v>
                </c:pt>
                <c:pt idx="21">
                  <c:v>0</c:v>
                </c:pt>
                <c:pt idx="22">
                  <c:v>4</c:v>
                </c:pt>
                <c:pt idx="23">
                  <c:v>2</c:v>
                </c:pt>
                <c:pt idx="24">
                  <c:v>5</c:v>
                </c:pt>
                <c:pt idx="25">
                  <c:v>1</c:v>
                </c:pt>
                <c:pt idx="26">
                  <c:v>1</c:v>
                </c:pt>
                <c:pt idx="27">
                  <c:v>4</c:v>
                </c:pt>
                <c:pt idx="28">
                  <c:v>5</c:v>
                </c:pt>
                <c:pt idx="29">
                  <c:v>1</c:v>
                </c:pt>
                <c:pt idx="30">
                  <c:v>3</c:v>
                </c:pt>
                <c:pt idx="31">
                  <c:v>2</c:v>
                </c:pt>
                <c:pt idx="32">
                  <c:v>0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1</c:v>
                </c:pt>
                <c:pt idx="37">
                  <c:v>4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4</c:v>
                </c:pt>
                <c:pt idx="43">
                  <c:v>3</c:v>
                </c:pt>
                <c:pt idx="44">
                  <c:v>1</c:v>
                </c:pt>
                <c:pt idx="45">
                  <c:v>3</c:v>
                </c:pt>
                <c:pt idx="46">
                  <c:v>1</c:v>
                </c:pt>
                <c:pt idx="47">
                  <c:v>0</c:v>
                </c:pt>
                <c:pt idx="48">
                  <c:v>8</c:v>
                </c:pt>
                <c:pt idx="49">
                  <c:v>1</c:v>
                </c:pt>
                <c:pt idx="50">
                  <c:v>1</c:v>
                </c:pt>
                <c:pt idx="51">
                  <c:v>2</c:v>
                </c:pt>
                <c:pt idx="52">
                  <c:v>7</c:v>
                </c:pt>
                <c:pt idx="53">
                  <c:v>2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0</c:v>
                </c:pt>
                <c:pt idx="59">
                  <c:v>3</c:v>
                </c:pt>
                <c:pt idx="60">
                  <c:v>2</c:v>
                </c:pt>
                <c:pt idx="61">
                  <c:v>2</c:v>
                </c:pt>
                <c:pt idx="62">
                  <c:v>1</c:v>
                </c:pt>
                <c:pt idx="63">
                  <c:v>3</c:v>
                </c:pt>
                <c:pt idx="64">
                  <c:v>5</c:v>
                </c:pt>
                <c:pt idx="65">
                  <c:v>2</c:v>
                </c:pt>
                <c:pt idx="66">
                  <c:v>2</c:v>
                </c:pt>
                <c:pt idx="67">
                  <c:v>0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2</c:v>
                </c:pt>
                <c:pt idx="72">
                  <c:v>5</c:v>
                </c:pt>
                <c:pt idx="73">
                  <c:v>6</c:v>
                </c:pt>
                <c:pt idx="74">
                  <c:v>5</c:v>
                </c:pt>
                <c:pt idx="75">
                  <c:v>1</c:v>
                </c:pt>
                <c:pt idx="76">
                  <c:v>5</c:v>
                </c:pt>
                <c:pt idx="77">
                  <c:v>4</c:v>
                </c:pt>
                <c:pt idx="78">
                  <c:v>1</c:v>
                </c:pt>
                <c:pt idx="79">
                  <c:v>3</c:v>
                </c:pt>
                <c:pt idx="80">
                  <c:v>2</c:v>
                </c:pt>
                <c:pt idx="81">
                  <c:v>0</c:v>
                </c:pt>
                <c:pt idx="82">
                  <c:v>3</c:v>
                </c:pt>
                <c:pt idx="83">
                  <c:v>2</c:v>
                </c:pt>
                <c:pt idx="84">
                  <c:v>3</c:v>
                </c:pt>
                <c:pt idx="85">
                  <c:v>5</c:v>
                </c:pt>
                <c:pt idx="86">
                  <c:v>7</c:v>
                </c:pt>
                <c:pt idx="87">
                  <c:v>4</c:v>
                </c:pt>
                <c:pt idx="88">
                  <c:v>2</c:v>
                </c:pt>
                <c:pt idx="89">
                  <c:v>6</c:v>
                </c:pt>
                <c:pt idx="90">
                  <c:v>8</c:v>
                </c:pt>
                <c:pt idx="91">
                  <c:v>9</c:v>
                </c:pt>
                <c:pt idx="92">
                  <c:v>8</c:v>
                </c:pt>
                <c:pt idx="93">
                  <c:v>7</c:v>
                </c:pt>
                <c:pt idx="94">
                  <c:v>5</c:v>
                </c:pt>
                <c:pt idx="95">
                  <c:v>4</c:v>
                </c:pt>
                <c:pt idx="96">
                  <c:v>2</c:v>
                </c:pt>
                <c:pt idx="97">
                  <c:v>7</c:v>
                </c:pt>
                <c:pt idx="98">
                  <c:v>6</c:v>
                </c:pt>
                <c:pt idx="99">
                  <c:v>9</c:v>
                </c:pt>
                <c:pt idx="100">
                  <c:v>12</c:v>
                </c:pt>
                <c:pt idx="101">
                  <c:v>11</c:v>
                </c:pt>
                <c:pt idx="102">
                  <c:v>4</c:v>
                </c:pt>
                <c:pt idx="103">
                  <c:v>7</c:v>
                </c:pt>
                <c:pt idx="104">
                  <c:v>10</c:v>
                </c:pt>
                <c:pt idx="105">
                  <c:v>13</c:v>
                </c:pt>
                <c:pt idx="106">
                  <c:v>13</c:v>
                </c:pt>
                <c:pt idx="107">
                  <c:v>16</c:v>
                </c:pt>
                <c:pt idx="108">
                  <c:v>10</c:v>
                </c:pt>
                <c:pt idx="109">
                  <c:v>8</c:v>
                </c:pt>
                <c:pt idx="110">
                  <c:v>5</c:v>
                </c:pt>
                <c:pt idx="111">
                  <c:v>19</c:v>
                </c:pt>
                <c:pt idx="112">
                  <c:v>31</c:v>
                </c:pt>
                <c:pt idx="113">
                  <c:v>18</c:v>
                </c:pt>
                <c:pt idx="114">
                  <c:v>19</c:v>
                </c:pt>
                <c:pt idx="115">
                  <c:v>14</c:v>
                </c:pt>
                <c:pt idx="116">
                  <c:v>9</c:v>
                </c:pt>
                <c:pt idx="117">
                  <c:v>13</c:v>
                </c:pt>
                <c:pt idx="118">
                  <c:v>39</c:v>
                </c:pt>
                <c:pt idx="119">
                  <c:v>55</c:v>
                </c:pt>
                <c:pt idx="120">
                  <c:v>50</c:v>
                </c:pt>
                <c:pt idx="121">
                  <c:v>54</c:v>
                </c:pt>
                <c:pt idx="122">
                  <c:v>46</c:v>
                </c:pt>
                <c:pt idx="123">
                  <c:v>28</c:v>
                </c:pt>
                <c:pt idx="124">
                  <c:v>22</c:v>
                </c:pt>
                <c:pt idx="125">
                  <c:v>81</c:v>
                </c:pt>
                <c:pt idx="126">
                  <c:v>87</c:v>
                </c:pt>
                <c:pt idx="127">
                  <c:v>65</c:v>
                </c:pt>
                <c:pt idx="128">
                  <c:v>41</c:v>
                </c:pt>
                <c:pt idx="129">
                  <c:v>83</c:v>
                </c:pt>
                <c:pt idx="130">
                  <c:v>56</c:v>
                </c:pt>
                <c:pt idx="131">
                  <c:v>42</c:v>
                </c:pt>
                <c:pt idx="132">
                  <c:v>136</c:v>
                </c:pt>
                <c:pt idx="133">
                  <c:v>128</c:v>
                </c:pt>
                <c:pt idx="134">
                  <c:v>107</c:v>
                </c:pt>
                <c:pt idx="135">
                  <c:v>116</c:v>
                </c:pt>
                <c:pt idx="136">
                  <c:v>133</c:v>
                </c:pt>
                <c:pt idx="137">
                  <c:v>55</c:v>
                </c:pt>
                <c:pt idx="138">
                  <c:v>39</c:v>
                </c:pt>
                <c:pt idx="139">
                  <c:v>129</c:v>
                </c:pt>
                <c:pt idx="140">
                  <c:v>150</c:v>
                </c:pt>
                <c:pt idx="141">
                  <c:v>143</c:v>
                </c:pt>
                <c:pt idx="142">
                  <c:v>121</c:v>
                </c:pt>
                <c:pt idx="143">
                  <c:v>170</c:v>
                </c:pt>
                <c:pt idx="144">
                  <c:v>97</c:v>
                </c:pt>
                <c:pt idx="145">
                  <c:v>53</c:v>
                </c:pt>
                <c:pt idx="146">
                  <c:v>166</c:v>
                </c:pt>
                <c:pt idx="147">
                  <c:v>201</c:v>
                </c:pt>
                <c:pt idx="148">
                  <c:v>144</c:v>
                </c:pt>
                <c:pt idx="149">
                  <c:v>166</c:v>
                </c:pt>
                <c:pt idx="150">
                  <c:v>257</c:v>
                </c:pt>
                <c:pt idx="151">
                  <c:v>125</c:v>
                </c:pt>
                <c:pt idx="152">
                  <c:v>91</c:v>
                </c:pt>
                <c:pt idx="153">
                  <c:v>205</c:v>
                </c:pt>
                <c:pt idx="154">
                  <c:v>216</c:v>
                </c:pt>
                <c:pt idx="155">
                  <c:v>184</c:v>
                </c:pt>
                <c:pt idx="156">
                  <c:v>262</c:v>
                </c:pt>
                <c:pt idx="157">
                  <c:v>158</c:v>
                </c:pt>
                <c:pt idx="158">
                  <c:v>117</c:v>
                </c:pt>
                <c:pt idx="159">
                  <c:v>83</c:v>
                </c:pt>
                <c:pt idx="160">
                  <c:v>210</c:v>
                </c:pt>
                <c:pt idx="161">
                  <c:v>193</c:v>
                </c:pt>
                <c:pt idx="162">
                  <c:v>171</c:v>
                </c:pt>
                <c:pt idx="163">
                  <c:v>131</c:v>
                </c:pt>
                <c:pt idx="164">
                  <c:v>161</c:v>
                </c:pt>
                <c:pt idx="165">
                  <c:v>100</c:v>
                </c:pt>
                <c:pt idx="166">
                  <c:v>66</c:v>
                </c:pt>
                <c:pt idx="167">
                  <c:v>199</c:v>
                </c:pt>
                <c:pt idx="168">
                  <c:v>168</c:v>
                </c:pt>
                <c:pt idx="169">
                  <c:v>142</c:v>
                </c:pt>
                <c:pt idx="170">
                  <c:v>116</c:v>
                </c:pt>
                <c:pt idx="171">
                  <c:v>99</c:v>
                </c:pt>
                <c:pt idx="172">
                  <c:v>78</c:v>
                </c:pt>
                <c:pt idx="173">
                  <c:v>62</c:v>
                </c:pt>
                <c:pt idx="174">
                  <c:v>122</c:v>
                </c:pt>
                <c:pt idx="175">
                  <c:v>172</c:v>
                </c:pt>
                <c:pt idx="176">
                  <c:v>97</c:v>
                </c:pt>
                <c:pt idx="177">
                  <c:v>89</c:v>
                </c:pt>
                <c:pt idx="178">
                  <c:v>97</c:v>
                </c:pt>
                <c:pt idx="179">
                  <c:v>64</c:v>
                </c:pt>
                <c:pt idx="180">
                  <c:v>43</c:v>
                </c:pt>
                <c:pt idx="181">
                  <c:v>106</c:v>
                </c:pt>
                <c:pt idx="182">
                  <c:v>97</c:v>
                </c:pt>
                <c:pt idx="183">
                  <c:v>44</c:v>
                </c:pt>
                <c:pt idx="184">
                  <c:v>75</c:v>
                </c:pt>
                <c:pt idx="185">
                  <c:v>22</c:v>
                </c:pt>
                <c:pt idx="186">
                  <c:v>14</c:v>
                </c:pt>
                <c:pt idx="187">
                  <c:v>22</c:v>
                </c:pt>
                <c:pt idx="188">
                  <c:v>70</c:v>
                </c:pt>
                <c:pt idx="189">
                  <c:v>95</c:v>
                </c:pt>
                <c:pt idx="190">
                  <c:v>67</c:v>
                </c:pt>
                <c:pt idx="191">
                  <c:v>66</c:v>
                </c:pt>
                <c:pt idx="192">
                  <c:v>76</c:v>
                </c:pt>
                <c:pt idx="193">
                  <c:v>15</c:v>
                </c:pt>
                <c:pt idx="194">
                  <c:v>27</c:v>
                </c:pt>
                <c:pt idx="195">
                  <c:v>100</c:v>
                </c:pt>
                <c:pt idx="196">
                  <c:v>96</c:v>
                </c:pt>
                <c:pt idx="197">
                  <c:v>84</c:v>
                </c:pt>
                <c:pt idx="198">
                  <c:v>78</c:v>
                </c:pt>
                <c:pt idx="199">
                  <c:v>76</c:v>
                </c:pt>
                <c:pt idx="200">
                  <c:v>35</c:v>
                </c:pt>
                <c:pt idx="201">
                  <c:v>29</c:v>
                </c:pt>
                <c:pt idx="202">
                  <c:v>84</c:v>
                </c:pt>
                <c:pt idx="203">
                  <c:v>117</c:v>
                </c:pt>
                <c:pt idx="204">
                  <c:v>114</c:v>
                </c:pt>
                <c:pt idx="205">
                  <c:v>92</c:v>
                </c:pt>
                <c:pt idx="206">
                  <c:v>108</c:v>
                </c:pt>
                <c:pt idx="207">
                  <c:v>79</c:v>
                </c:pt>
                <c:pt idx="208">
                  <c:v>69</c:v>
                </c:pt>
                <c:pt idx="209">
                  <c:v>216</c:v>
                </c:pt>
                <c:pt idx="210">
                  <c:v>246</c:v>
                </c:pt>
                <c:pt idx="211">
                  <c:v>296</c:v>
                </c:pt>
                <c:pt idx="212">
                  <c:v>296</c:v>
                </c:pt>
                <c:pt idx="213">
                  <c:v>2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8.01</c:v>
                </c:pt>
                <c:pt idx="5">
                  <c:v>29.01 - 04.02</c:v>
                </c:pt>
                <c:pt idx="6">
                  <c:v>05.02 - 11.02</c:v>
                </c:pt>
                <c:pt idx="7">
                  <c:v>12.02 - 18.02</c:v>
                </c:pt>
                <c:pt idx="8">
                  <c:v>19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10">
                  <c:v>0.32531480000000002</c:v>
                </c:pt>
                <c:pt idx="11">
                  <c:v>0.65062969999999998</c:v>
                </c:pt>
                <c:pt idx="12">
                  <c:v>5.3676952</c:v>
                </c:pt>
                <c:pt idx="13">
                  <c:v>8.4579388000000009</c:v>
                </c:pt>
                <c:pt idx="14">
                  <c:v>11.861702299999999</c:v>
                </c:pt>
                <c:pt idx="15">
                  <c:v>10.5464351</c:v>
                </c:pt>
                <c:pt idx="16">
                  <c:v>8.4249001000000003</c:v>
                </c:pt>
                <c:pt idx="17">
                  <c:v>3.0738666000000001</c:v>
                </c:pt>
                <c:pt idx="18">
                  <c:v>3.7169674000000001</c:v>
                </c:pt>
                <c:pt idx="19">
                  <c:v>0.96943840000000003</c:v>
                </c:pt>
                <c:pt idx="20">
                  <c:v>0.64617530000000001</c:v>
                </c:pt>
                <c:pt idx="21">
                  <c:v>0.64605840000000003</c:v>
                </c:pt>
                <c:pt idx="22">
                  <c:v>1.6148358</c:v>
                </c:pt>
                <c:pt idx="23">
                  <c:v>2.9059770999999999</c:v>
                </c:pt>
                <c:pt idx="24">
                  <c:v>1.4526109</c:v>
                </c:pt>
                <c:pt idx="25">
                  <c:v>1.9363113999999999</c:v>
                </c:pt>
                <c:pt idx="26">
                  <c:v>1.4518517</c:v>
                </c:pt>
                <c:pt idx="27">
                  <c:v>1.9354058000000001</c:v>
                </c:pt>
                <c:pt idx="28">
                  <c:v>3.0639873</c:v>
                </c:pt>
                <c:pt idx="29">
                  <c:v>3.2248285999999999</c:v>
                </c:pt>
                <c:pt idx="30">
                  <c:v>3.8692826999999999</c:v>
                </c:pt>
                <c:pt idx="31">
                  <c:v>3.8684718999999999</c:v>
                </c:pt>
                <c:pt idx="32">
                  <c:v>5.1560511</c:v>
                </c:pt>
                <c:pt idx="33">
                  <c:v>7.7311617000000004</c:v>
                </c:pt>
                <c:pt idx="34">
                  <c:v>6.6012019999999998</c:v>
                </c:pt>
                <c:pt idx="35">
                  <c:v>5.6327056999999998</c:v>
                </c:pt>
                <c:pt idx="36">
                  <c:v>17.5209045</c:v>
                </c:pt>
                <c:pt idx="37">
                  <c:v>32.745519100000003</c:v>
                </c:pt>
                <c:pt idx="38">
                  <c:v>44.401129699999998</c:v>
                </c:pt>
                <c:pt idx="39">
                  <c:v>52.662666000000002</c:v>
                </c:pt>
                <c:pt idx="40">
                  <c:v>112.34626299999999</c:v>
                </c:pt>
                <c:pt idx="41">
                  <c:v>193.88937290000001</c:v>
                </c:pt>
                <c:pt idx="42">
                  <c:v>345.79138419999998</c:v>
                </c:pt>
                <c:pt idx="43">
                  <c:v>395.10093920000003</c:v>
                </c:pt>
                <c:pt idx="44">
                  <c:v>349.70199100000002</c:v>
                </c:pt>
                <c:pt idx="45">
                  <c:v>229.236243</c:v>
                </c:pt>
                <c:pt idx="46">
                  <c:v>156.31426089999999</c:v>
                </c:pt>
                <c:pt idx="47">
                  <c:v>129.32834009999999</c:v>
                </c:pt>
                <c:pt idx="48">
                  <c:v>108.80032009999999</c:v>
                </c:pt>
                <c:pt idx="49">
                  <c:v>129.95512339999999</c:v>
                </c:pt>
                <c:pt idx="50">
                  <c:v>140.81945730000001</c:v>
                </c:pt>
                <c:pt idx="51">
                  <c:v>180.46679499999999</c:v>
                </c:pt>
                <c:pt idx="52">
                  <c:v>189.2946454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D87-4662-BB8A-7C8E4F3CFE2C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8.01</c:v>
                </c:pt>
                <c:pt idx="5">
                  <c:v>29.01 - 04.02</c:v>
                </c:pt>
                <c:pt idx="6">
                  <c:v>05.02 - 11.02</c:v>
                </c:pt>
                <c:pt idx="7">
                  <c:v>12.02 - 18.02</c:v>
                </c:pt>
                <c:pt idx="8">
                  <c:v>19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59.460745000000003</c:v>
                </c:pt>
                <c:pt idx="1">
                  <c:v>245.63344069999999</c:v>
                </c:pt>
                <c:pt idx="2">
                  <c:v>172.33731119999999</c:v>
                </c:pt>
                <c:pt idx="3">
                  <c:v>136.54589899999999</c:v>
                </c:pt>
                <c:pt idx="4">
                  <c:v>116.2383536</c:v>
                </c:pt>
                <c:pt idx="5">
                  <c:v>96.896225000000001</c:v>
                </c:pt>
                <c:pt idx="6">
                  <c:v>104.7071761</c:v>
                </c:pt>
                <c:pt idx="7">
                  <c:v>102.1453626</c:v>
                </c:pt>
                <c:pt idx="8">
                  <c:v>113.3844881</c:v>
                </c:pt>
                <c:pt idx="9">
                  <c:v>131.7445366</c:v>
                </c:pt>
                <c:pt idx="10">
                  <c:v>105.7298772</c:v>
                </c:pt>
                <c:pt idx="11">
                  <c:v>93.212373999999997</c:v>
                </c:pt>
                <c:pt idx="12">
                  <c:v>62.013537800000002</c:v>
                </c:pt>
                <c:pt idx="13">
                  <c:v>47.417008600000003</c:v>
                </c:pt>
                <c:pt idx="14">
                  <c:v>29.129715000000001</c:v>
                </c:pt>
                <c:pt idx="15">
                  <c:v>23.675880200000002</c:v>
                </c:pt>
                <c:pt idx="16">
                  <c:v>18.709332100000001</c:v>
                </c:pt>
                <c:pt idx="17">
                  <c:v>13.767572700000001</c:v>
                </c:pt>
                <c:pt idx="18">
                  <c:v>12.06654</c:v>
                </c:pt>
                <c:pt idx="19">
                  <c:v>9.6269039000000003</c:v>
                </c:pt>
                <c:pt idx="20">
                  <c:v>6.1153101999999997</c:v>
                </c:pt>
                <c:pt idx="21">
                  <c:v>2.4473288000000002</c:v>
                </c:pt>
                <c:pt idx="22">
                  <c:v>1.5302616</c:v>
                </c:pt>
                <c:pt idx="23">
                  <c:v>1.3774736999999999</c:v>
                </c:pt>
                <c:pt idx="24">
                  <c:v>0.61228919999999998</c:v>
                </c:pt>
                <c:pt idx="25">
                  <c:v>1.0716439</c:v>
                </c:pt>
                <c:pt idx="26">
                  <c:v>0.61243919999999996</c:v>
                </c:pt>
                <c:pt idx="27">
                  <c:v>1.2244416</c:v>
                </c:pt>
                <c:pt idx="28">
                  <c:v>1.9885246000000001</c:v>
                </c:pt>
                <c:pt idx="29">
                  <c:v>3.0574680999999999</c:v>
                </c:pt>
                <c:pt idx="30">
                  <c:v>2.2917277</c:v>
                </c:pt>
                <c:pt idx="31">
                  <c:v>1.8332504999999999</c:v>
                </c:pt>
                <c:pt idx="32">
                  <c:v>2.1411015999999998</c:v>
                </c:pt>
                <c:pt idx="33">
                  <c:v>1.8372698999999999</c:v>
                </c:pt>
                <c:pt idx="34">
                  <c:v>2.7589758</c:v>
                </c:pt>
                <c:pt idx="35">
                  <c:v>1.6878439000000001</c:v>
                </c:pt>
                <c:pt idx="36">
                  <c:v>3.8379229000000001</c:v>
                </c:pt>
                <c:pt idx="37">
                  <c:v>3.3785183999999999</c:v>
                </c:pt>
                <c:pt idx="38">
                  <c:v>6.2984577000000002</c:v>
                </c:pt>
                <c:pt idx="39">
                  <c:v>6.6079429999999997</c:v>
                </c:pt>
                <c:pt idx="40">
                  <c:v>10.455956499999999</c:v>
                </c:pt>
                <c:pt idx="41">
                  <c:v>16.002535699999999</c:v>
                </c:pt>
                <c:pt idx="42">
                  <c:v>35.106844899999999</c:v>
                </c:pt>
                <c:pt idx="43">
                  <c:v>53.621368400000001</c:v>
                </c:pt>
                <c:pt idx="44">
                  <c:v>98.370260700000003</c:v>
                </c:pt>
                <c:pt idx="45">
                  <c:v>113.23176410000001</c:v>
                </c:pt>
                <c:pt idx="46">
                  <c:v>146.1656595</c:v>
                </c:pt>
                <c:pt idx="47">
                  <c:v>194.88511500000001</c:v>
                </c:pt>
                <c:pt idx="48">
                  <c:v>152.498142</c:v>
                </c:pt>
                <c:pt idx="49">
                  <c:v>137.41784290000001</c:v>
                </c:pt>
                <c:pt idx="50">
                  <c:v>104.22175420000001</c:v>
                </c:pt>
                <c:pt idx="51">
                  <c:v>75.487575399999997</c:v>
                </c:pt>
                <c:pt idx="52">
                  <c:v>50.9106663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87-4662-BB8A-7C8E4F3CFE2C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7D87-4662-BB8A-7C8E4F3CFE2C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8.01</c:v>
                </c:pt>
                <c:pt idx="5">
                  <c:v>29.01 - 04.02</c:v>
                </c:pt>
                <c:pt idx="6">
                  <c:v>05.02 - 11.02</c:v>
                </c:pt>
                <c:pt idx="7">
                  <c:v>12.02 - 18.02</c:v>
                </c:pt>
                <c:pt idx="8">
                  <c:v>19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13.0068611</c:v>
                </c:pt>
                <c:pt idx="1">
                  <c:v>65.613540799999996</c:v>
                </c:pt>
                <c:pt idx="2">
                  <c:v>80.285417699999996</c:v>
                </c:pt>
                <c:pt idx="3">
                  <c:v>165.1244129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D87-4662-BB8A-7C8E4F3CFE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48</c:f>
              <c:numCache>
                <c:formatCode>m/d/yyyy</c:formatCode>
                <c:ptCount val="214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  <c:pt idx="180">
                  <c:v>44549</c:v>
                </c:pt>
                <c:pt idx="181">
                  <c:v>44550</c:v>
                </c:pt>
                <c:pt idx="182">
                  <c:v>44551</c:v>
                </c:pt>
                <c:pt idx="183">
                  <c:v>44552</c:v>
                </c:pt>
                <c:pt idx="184">
                  <c:v>44553</c:v>
                </c:pt>
                <c:pt idx="185">
                  <c:v>44554</c:v>
                </c:pt>
                <c:pt idx="186">
                  <c:v>44555</c:v>
                </c:pt>
                <c:pt idx="187">
                  <c:v>44556</c:v>
                </c:pt>
                <c:pt idx="188">
                  <c:v>44557</c:v>
                </c:pt>
                <c:pt idx="189">
                  <c:v>44558</c:v>
                </c:pt>
                <c:pt idx="190">
                  <c:v>44559</c:v>
                </c:pt>
                <c:pt idx="191">
                  <c:v>44560</c:v>
                </c:pt>
                <c:pt idx="192">
                  <c:v>44561</c:v>
                </c:pt>
                <c:pt idx="193">
                  <c:v>44562</c:v>
                </c:pt>
                <c:pt idx="194">
                  <c:v>44563</c:v>
                </c:pt>
                <c:pt idx="195">
                  <c:v>44564</c:v>
                </c:pt>
                <c:pt idx="196">
                  <c:v>44565</c:v>
                </c:pt>
                <c:pt idx="197">
                  <c:v>44566</c:v>
                </c:pt>
                <c:pt idx="198">
                  <c:v>44567</c:v>
                </c:pt>
                <c:pt idx="199">
                  <c:v>44568</c:v>
                </c:pt>
                <c:pt idx="200">
                  <c:v>44569</c:v>
                </c:pt>
                <c:pt idx="201">
                  <c:v>44570</c:v>
                </c:pt>
                <c:pt idx="202">
                  <c:v>44571</c:v>
                </c:pt>
                <c:pt idx="203">
                  <c:v>44572</c:v>
                </c:pt>
                <c:pt idx="204">
                  <c:v>44573</c:v>
                </c:pt>
                <c:pt idx="205">
                  <c:v>44574</c:v>
                </c:pt>
                <c:pt idx="206">
                  <c:v>44575</c:v>
                </c:pt>
                <c:pt idx="207">
                  <c:v>44576</c:v>
                </c:pt>
                <c:pt idx="208">
                  <c:v>44577</c:v>
                </c:pt>
                <c:pt idx="209">
                  <c:v>44578</c:v>
                </c:pt>
                <c:pt idx="210">
                  <c:v>44579</c:v>
                </c:pt>
                <c:pt idx="211">
                  <c:v>44580</c:v>
                </c:pt>
                <c:pt idx="212">
                  <c:v>44581</c:v>
                </c:pt>
                <c:pt idx="213">
                  <c:v>44582</c:v>
                </c:pt>
              </c:numCache>
            </c:numRef>
          </c:cat>
          <c:val>
            <c:numRef>
              <c:f>Sheet1!$B$135:$B$348</c:f>
              <c:numCache>
                <c:formatCode>General</c:formatCode>
                <c:ptCount val="214"/>
                <c:pt idx="0">
                  <c:v>4</c:v>
                </c:pt>
                <c:pt idx="1">
                  <c:v>4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4</c:v>
                </c:pt>
                <c:pt idx="6">
                  <c:v>3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3</c:v>
                </c:pt>
                <c:pt idx="11">
                  <c:v>2</c:v>
                </c:pt>
                <c:pt idx="12">
                  <c:v>4</c:v>
                </c:pt>
                <c:pt idx="13">
                  <c:v>2</c:v>
                </c:pt>
                <c:pt idx="14">
                  <c:v>4</c:v>
                </c:pt>
                <c:pt idx="15">
                  <c:v>1</c:v>
                </c:pt>
                <c:pt idx="16">
                  <c:v>1</c:v>
                </c:pt>
                <c:pt idx="17">
                  <c:v>5</c:v>
                </c:pt>
                <c:pt idx="18">
                  <c:v>7</c:v>
                </c:pt>
                <c:pt idx="19">
                  <c:v>1</c:v>
                </c:pt>
                <c:pt idx="20">
                  <c:v>7</c:v>
                </c:pt>
                <c:pt idx="21">
                  <c:v>4</c:v>
                </c:pt>
                <c:pt idx="22">
                  <c:v>7</c:v>
                </c:pt>
                <c:pt idx="23">
                  <c:v>5</c:v>
                </c:pt>
                <c:pt idx="24">
                  <c:v>8</c:v>
                </c:pt>
                <c:pt idx="25">
                  <c:v>3</c:v>
                </c:pt>
                <c:pt idx="26">
                  <c:v>4</c:v>
                </c:pt>
                <c:pt idx="27">
                  <c:v>11</c:v>
                </c:pt>
                <c:pt idx="28">
                  <c:v>8</c:v>
                </c:pt>
                <c:pt idx="29">
                  <c:v>7</c:v>
                </c:pt>
                <c:pt idx="30">
                  <c:v>7</c:v>
                </c:pt>
                <c:pt idx="31">
                  <c:v>6</c:v>
                </c:pt>
                <c:pt idx="32">
                  <c:v>1</c:v>
                </c:pt>
                <c:pt idx="33">
                  <c:v>4</c:v>
                </c:pt>
                <c:pt idx="34">
                  <c:v>9</c:v>
                </c:pt>
                <c:pt idx="35">
                  <c:v>5</c:v>
                </c:pt>
                <c:pt idx="36">
                  <c:v>2</c:v>
                </c:pt>
                <c:pt idx="37">
                  <c:v>8</c:v>
                </c:pt>
                <c:pt idx="38">
                  <c:v>4</c:v>
                </c:pt>
                <c:pt idx="39">
                  <c:v>2</c:v>
                </c:pt>
                <c:pt idx="40">
                  <c:v>1</c:v>
                </c:pt>
                <c:pt idx="41">
                  <c:v>2</c:v>
                </c:pt>
                <c:pt idx="42">
                  <c:v>6</c:v>
                </c:pt>
                <c:pt idx="43">
                  <c:v>11</c:v>
                </c:pt>
                <c:pt idx="44">
                  <c:v>3</c:v>
                </c:pt>
                <c:pt idx="45">
                  <c:v>6</c:v>
                </c:pt>
                <c:pt idx="46">
                  <c:v>1</c:v>
                </c:pt>
                <c:pt idx="47">
                  <c:v>3</c:v>
                </c:pt>
                <c:pt idx="48">
                  <c:v>12</c:v>
                </c:pt>
                <c:pt idx="49">
                  <c:v>3</c:v>
                </c:pt>
                <c:pt idx="50">
                  <c:v>7</c:v>
                </c:pt>
                <c:pt idx="51">
                  <c:v>4</c:v>
                </c:pt>
                <c:pt idx="52">
                  <c:v>10</c:v>
                </c:pt>
                <c:pt idx="53">
                  <c:v>5</c:v>
                </c:pt>
                <c:pt idx="54">
                  <c:v>2</c:v>
                </c:pt>
                <c:pt idx="55">
                  <c:v>7</c:v>
                </c:pt>
                <c:pt idx="56">
                  <c:v>4</c:v>
                </c:pt>
                <c:pt idx="57">
                  <c:v>3</c:v>
                </c:pt>
                <c:pt idx="58">
                  <c:v>3</c:v>
                </c:pt>
                <c:pt idx="59">
                  <c:v>4</c:v>
                </c:pt>
                <c:pt idx="60">
                  <c:v>2</c:v>
                </c:pt>
                <c:pt idx="61">
                  <c:v>3</c:v>
                </c:pt>
                <c:pt idx="62">
                  <c:v>8</c:v>
                </c:pt>
                <c:pt idx="63">
                  <c:v>5</c:v>
                </c:pt>
                <c:pt idx="64">
                  <c:v>6</c:v>
                </c:pt>
                <c:pt idx="65">
                  <c:v>5</c:v>
                </c:pt>
                <c:pt idx="66">
                  <c:v>4</c:v>
                </c:pt>
                <c:pt idx="67">
                  <c:v>3</c:v>
                </c:pt>
                <c:pt idx="68">
                  <c:v>2</c:v>
                </c:pt>
                <c:pt idx="69">
                  <c:v>1</c:v>
                </c:pt>
                <c:pt idx="70">
                  <c:v>7</c:v>
                </c:pt>
                <c:pt idx="71">
                  <c:v>7</c:v>
                </c:pt>
                <c:pt idx="72">
                  <c:v>12</c:v>
                </c:pt>
                <c:pt idx="73">
                  <c:v>13</c:v>
                </c:pt>
                <c:pt idx="74">
                  <c:v>9</c:v>
                </c:pt>
                <c:pt idx="75">
                  <c:v>3</c:v>
                </c:pt>
                <c:pt idx="76">
                  <c:v>7</c:v>
                </c:pt>
                <c:pt idx="77">
                  <c:v>12</c:v>
                </c:pt>
                <c:pt idx="78">
                  <c:v>2</c:v>
                </c:pt>
                <c:pt idx="79">
                  <c:v>7</c:v>
                </c:pt>
                <c:pt idx="80">
                  <c:v>5</c:v>
                </c:pt>
                <c:pt idx="81">
                  <c:v>4</c:v>
                </c:pt>
                <c:pt idx="82">
                  <c:v>5</c:v>
                </c:pt>
                <c:pt idx="83">
                  <c:v>9</c:v>
                </c:pt>
                <c:pt idx="84">
                  <c:v>10</c:v>
                </c:pt>
                <c:pt idx="85">
                  <c:v>8</c:v>
                </c:pt>
                <c:pt idx="86">
                  <c:v>16</c:v>
                </c:pt>
                <c:pt idx="87">
                  <c:v>12</c:v>
                </c:pt>
                <c:pt idx="88">
                  <c:v>5</c:v>
                </c:pt>
                <c:pt idx="89">
                  <c:v>9</c:v>
                </c:pt>
                <c:pt idx="90">
                  <c:v>18</c:v>
                </c:pt>
                <c:pt idx="91">
                  <c:v>19</c:v>
                </c:pt>
                <c:pt idx="92">
                  <c:v>17</c:v>
                </c:pt>
                <c:pt idx="93">
                  <c:v>14</c:v>
                </c:pt>
                <c:pt idx="94">
                  <c:v>15</c:v>
                </c:pt>
                <c:pt idx="95">
                  <c:v>10</c:v>
                </c:pt>
                <c:pt idx="96">
                  <c:v>10</c:v>
                </c:pt>
                <c:pt idx="97">
                  <c:v>18</c:v>
                </c:pt>
                <c:pt idx="98">
                  <c:v>19</c:v>
                </c:pt>
                <c:pt idx="99">
                  <c:v>24</c:v>
                </c:pt>
                <c:pt idx="100">
                  <c:v>37</c:v>
                </c:pt>
                <c:pt idx="101">
                  <c:v>21</c:v>
                </c:pt>
                <c:pt idx="102">
                  <c:v>14</c:v>
                </c:pt>
                <c:pt idx="103">
                  <c:v>16</c:v>
                </c:pt>
                <c:pt idx="104">
                  <c:v>20</c:v>
                </c:pt>
                <c:pt idx="105">
                  <c:v>28</c:v>
                </c:pt>
                <c:pt idx="106">
                  <c:v>27</c:v>
                </c:pt>
                <c:pt idx="107">
                  <c:v>30</c:v>
                </c:pt>
                <c:pt idx="108">
                  <c:v>25</c:v>
                </c:pt>
                <c:pt idx="109">
                  <c:v>14</c:v>
                </c:pt>
                <c:pt idx="110">
                  <c:v>10</c:v>
                </c:pt>
                <c:pt idx="111">
                  <c:v>40</c:v>
                </c:pt>
                <c:pt idx="112">
                  <c:v>60</c:v>
                </c:pt>
                <c:pt idx="113">
                  <c:v>47</c:v>
                </c:pt>
                <c:pt idx="114">
                  <c:v>47</c:v>
                </c:pt>
                <c:pt idx="115">
                  <c:v>37</c:v>
                </c:pt>
                <c:pt idx="116">
                  <c:v>24</c:v>
                </c:pt>
                <c:pt idx="117">
                  <c:v>31</c:v>
                </c:pt>
                <c:pt idx="118">
                  <c:v>91</c:v>
                </c:pt>
                <c:pt idx="119">
                  <c:v>101</c:v>
                </c:pt>
                <c:pt idx="120">
                  <c:v>89</c:v>
                </c:pt>
                <c:pt idx="121">
                  <c:v>120</c:v>
                </c:pt>
                <c:pt idx="122">
                  <c:v>106</c:v>
                </c:pt>
                <c:pt idx="123">
                  <c:v>77</c:v>
                </c:pt>
                <c:pt idx="124">
                  <c:v>45</c:v>
                </c:pt>
                <c:pt idx="125">
                  <c:v>174</c:v>
                </c:pt>
                <c:pt idx="126">
                  <c:v>175</c:v>
                </c:pt>
                <c:pt idx="127">
                  <c:v>165</c:v>
                </c:pt>
                <c:pt idx="128">
                  <c:v>98</c:v>
                </c:pt>
                <c:pt idx="129">
                  <c:v>203</c:v>
                </c:pt>
                <c:pt idx="130">
                  <c:v>141</c:v>
                </c:pt>
                <c:pt idx="131">
                  <c:v>97</c:v>
                </c:pt>
                <c:pt idx="132">
                  <c:v>304</c:v>
                </c:pt>
                <c:pt idx="133">
                  <c:v>271</c:v>
                </c:pt>
                <c:pt idx="134">
                  <c:v>263</c:v>
                </c:pt>
                <c:pt idx="135">
                  <c:v>245</c:v>
                </c:pt>
                <c:pt idx="136">
                  <c:v>286</c:v>
                </c:pt>
                <c:pt idx="137">
                  <c:v>159</c:v>
                </c:pt>
                <c:pt idx="138">
                  <c:v>86</c:v>
                </c:pt>
                <c:pt idx="139">
                  <c:v>316</c:v>
                </c:pt>
                <c:pt idx="140">
                  <c:v>343</c:v>
                </c:pt>
                <c:pt idx="141">
                  <c:v>359</c:v>
                </c:pt>
                <c:pt idx="142">
                  <c:v>267</c:v>
                </c:pt>
                <c:pt idx="143">
                  <c:v>376</c:v>
                </c:pt>
                <c:pt idx="144">
                  <c:v>244</c:v>
                </c:pt>
                <c:pt idx="145">
                  <c:v>130</c:v>
                </c:pt>
                <c:pt idx="146">
                  <c:v>391</c:v>
                </c:pt>
                <c:pt idx="147">
                  <c:v>492</c:v>
                </c:pt>
                <c:pt idx="148">
                  <c:v>309</c:v>
                </c:pt>
                <c:pt idx="149">
                  <c:v>391</c:v>
                </c:pt>
                <c:pt idx="150">
                  <c:v>577</c:v>
                </c:pt>
                <c:pt idx="151">
                  <c:v>329</c:v>
                </c:pt>
                <c:pt idx="152">
                  <c:v>206</c:v>
                </c:pt>
                <c:pt idx="153">
                  <c:v>460</c:v>
                </c:pt>
                <c:pt idx="154">
                  <c:v>548</c:v>
                </c:pt>
                <c:pt idx="155">
                  <c:v>369</c:v>
                </c:pt>
                <c:pt idx="156">
                  <c:v>547</c:v>
                </c:pt>
                <c:pt idx="157">
                  <c:v>403</c:v>
                </c:pt>
                <c:pt idx="158">
                  <c:v>259</c:v>
                </c:pt>
                <c:pt idx="159">
                  <c:v>203</c:v>
                </c:pt>
                <c:pt idx="160">
                  <c:v>474</c:v>
                </c:pt>
                <c:pt idx="161">
                  <c:v>409</c:v>
                </c:pt>
                <c:pt idx="162">
                  <c:v>403</c:v>
                </c:pt>
                <c:pt idx="163">
                  <c:v>320</c:v>
                </c:pt>
                <c:pt idx="164">
                  <c:v>359</c:v>
                </c:pt>
                <c:pt idx="165">
                  <c:v>213</c:v>
                </c:pt>
                <c:pt idx="166">
                  <c:v>148</c:v>
                </c:pt>
                <c:pt idx="167">
                  <c:v>413</c:v>
                </c:pt>
                <c:pt idx="168">
                  <c:v>366</c:v>
                </c:pt>
                <c:pt idx="169">
                  <c:v>293</c:v>
                </c:pt>
                <c:pt idx="170">
                  <c:v>276</c:v>
                </c:pt>
                <c:pt idx="171">
                  <c:v>245</c:v>
                </c:pt>
                <c:pt idx="172">
                  <c:v>173</c:v>
                </c:pt>
                <c:pt idx="173">
                  <c:v>133</c:v>
                </c:pt>
                <c:pt idx="174">
                  <c:v>255</c:v>
                </c:pt>
                <c:pt idx="175">
                  <c:v>322</c:v>
                </c:pt>
                <c:pt idx="176">
                  <c:v>208</c:v>
                </c:pt>
                <c:pt idx="177">
                  <c:v>171</c:v>
                </c:pt>
                <c:pt idx="178">
                  <c:v>203</c:v>
                </c:pt>
                <c:pt idx="179">
                  <c:v>133</c:v>
                </c:pt>
                <c:pt idx="180">
                  <c:v>91</c:v>
                </c:pt>
                <c:pt idx="181">
                  <c:v>223</c:v>
                </c:pt>
                <c:pt idx="182">
                  <c:v>211</c:v>
                </c:pt>
                <c:pt idx="183">
                  <c:v>118</c:v>
                </c:pt>
                <c:pt idx="184">
                  <c:v>159</c:v>
                </c:pt>
                <c:pt idx="185">
                  <c:v>48</c:v>
                </c:pt>
                <c:pt idx="186">
                  <c:v>44</c:v>
                </c:pt>
                <c:pt idx="187">
                  <c:v>48</c:v>
                </c:pt>
                <c:pt idx="188">
                  <c:v>171</c:v>
                </c:pt>
                <c:pt idx="189">
                  <c:v>220</c:v>
                </c:pt>
                <c:pt idx="190">
                  <c:v>150</c:v>
                </c:pt>
                <c:pt idx="191">
                  <c:v>142</c:v>
                </c:pt>
                <c:pt idx="192">
                  <c:v>149</c:v>
                </c:pt>
                <c:pt idx="193">
                  <c:v>34</c:v>
                </c:pt>
                <c:pt idx="194">
                  <c:v>90</c:v>
                </c:pt>
                <c:pt idx="195">
                  <c:v>239</c:v>
                </c:pt>
                <c:pt idx="196">
                  <c:v>207</c:v>
                </c:pt>
                <c:pt idx="197">
                  <c:v>161</c:v>
                </c:pt>
                <c:pt idx="198">
                  <c:v>163</c:v>
                </c:pt>
                <c:pt idx="199">
                  <c:v>163</c:v>
                </c:pt>
                <c:pt idx="200">
                  <c:v>90</c:v>
                </c:pt>
                <c:pt idx="201">
                  <c:v>75</c:v>
                </c:pt>
                <c:pt idx="202">
                  <c:v>193</c:v>
                </c:pt>
                <c:pt idx="203">
                  <c:v>275</c:v>
                </c:pt>
                <c:pt idx="204">
                  <c:v>311</c:v>
                </c:pt>
                <c:pt idx="205">
                  <c:v>236</c:v>
                </c:pt>
                <c:pt idx="206">
                  <c:v>279</c:v>
                </c:pt>
                <c:pt idx="207">
                  <c:v>212</c:v>
                </c:pt>
                <c:pt idx="208">
                  <c:v>189</c:v>
                </c:pt>
                <c:pt idx="209">
                  <c:v>586</c:v>
                </c:pt>
                <c:pt idx="210">
                  <c:v>628</c:v>
                </c:pt>
                <c:pt idx="211">
                  <c:v>731</c:v>
                </c:pt>
                <c:pt idx="212">
                  <c:v>712</c:v>
                </c:pt>
                <c:pt idx="213">
                  <c:v>6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9F-460A-A36A-554DEDA2A4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5679636904293355"/>
          <c:h val="0.80623174724366597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56</c:f>
              <c:numCache>
                <c:formatCode>m/d/yyyy</c:formatCode>
                <c:ptCount val="355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</c:numCache>
            </c:numRef>
          </c:cat>
          <c:val>
            <c:numRef>
              <c:f>List1!$B$2:$B$356</c:f>
              <c:numCache>
                <c:formatCode>General</c:formatCode>
                <c:ptCount val="355"/>
                <c:pt idx="0">
                  <c:v>18.539575814505</c:v>
                </c:pt>
                <c:pt idx="1">
                  <c:v>26.588120926097002</c:v>
                </c:pt>
                <c:pt idx="2">
                  <c:v>22.616001239690998</c:v>
                </c:pt>
                <c:pt idx="3">
                  <c:v>22.322462715168999</c:v>
                </c:pt>
                <c:pt idx="4">
                  <c:v>19.015905748719</c:v>
                </c:pt>
                <c:pt idx="5">
                  <c:v>11.022880957125</c:v>
                </c:pt>
                <c:pt idx="6">
                  <c:v>5.1036465554630004</c:v>
                </c:pt>
                <c:pt idx="7">
                  <c:v>23.649200657017001</c:v>
                </c:pt>
                <c:pt idx="8">
                  <c:v>30.553809623576999</c:v>
                </c:pt>
                <c:pt idx="9">
                  <c:v>27.084508105371999</c:v>
                </c:pt>
                <c:pt idx="10">
                  <c:v>22.663197686539998</c:v>
                </c:pt>
                <c:pt idx="11">
                  <c:v>26.971224493592</c:v>
                </c:pt>
                <c:pt idx="12">
                  <c:v>10.72646124716</c:v>
                </c:pt>
                <c:pt idx="13">
                  <c:v>8.4180201751879995</c:v>
                </c:pt>
                <c:pt idx="14">
                  <c:v>32.09350226331</c:v>
                </c:pt>
                <c:pt idx="15">
                  <c:v>32.082922013820003</c:v>
                </c:pt>
                <c:pt idx="16">
                  <c:v>33.017046955319998</c:v>
                </c:pt>
                <c:pt idx="17">
                  <c:v>29.366419499302001</c:v>
                </c:pt>
                <c:pt idx="18">
                  <c:v>31.235694859574</c:v>
                </c:pt>
                <c:pt idx="19">
                  <c:v>15.680930906574</c:v>
                </c:pt>
                <c:pt idx="20">
                  <c:v>7.5963927986190001</c:v>
                </c:pt>
                <c:pt idx="21">
                  <c:v>41.144712626421999</c:v>
                </c:pt>
                <c:pt idx="22">
                  <c:v>47.68798433109</c:v>
                </c:pt>
                <c:pt idx="23">
                  <c:v>38.218773524813002</c:v>
                </c:pt>
                <c:pt idx="24">
                  <c:v>48.377010300762997</c:v>
                </c:pt>
                <c:pt idx="25">
                  <c:v>57.628583777552997</c:v>
                </c:pt>
                <c:pt idx="26">
                  <c:v>20.456295725836998</c:v>
                </c:pt>
                <c:pt idx="27">
                  <c:v>10.837041006159</c:v>
                </c:pt>
                <c:pt idx="28">
                  <c:v>63.382170107992998</c:v>
                </c:pt>
                <c:pt idx="29">
                  <c:v>63.386175659708002</c:v>
                </c:pt>
                <c:pt idx="30">
                  <c:v>53.960515788102001</c:v>
                </c:pt>
                <c:pt idx="31">
                  <c:v>43.803111272416999</c:v>
                </c:pt>
                <c:pt idx="32">
                  <c:v>51.090562753086999</c:v>
                </c:pt>
                <c:pt idx="33">
                  <c:v>22.085502445180001</c:v>
                </c:pt>
                <c:pt idx="34">
                  <c:v>10.73184897132</c:v>
                </c:pt>
                <c:pt idx="35">
                  <c:v>49.517521584560001</c:v>
                </c:pt>
                <c:pt idx="36">
                  <c:v>54.325942874672997</c:v>
                </c:pt>
                <c:pt idx="37">
                  <c:v>49.471871707228999</c:v>
                </c:pt>
                <c:pt idx="38">
                  <c:v>44.577386989863001</c:v>
                </c:pt>
                <c:pt idx="39">
                  <c:v>53.971804609061998</c:v>
                </c:pt>
                <c:pt idx="40">
                  <c:v>21.461041705957001</c:v>
                </c:pt>
                <c:pt idx="41">
                  <c:v>7.8049288125449996</c:v>
                </c:pt>
                <c:pt idx="42">
                  <c:v>37.202866578772003</c:v>
                </c:pt>
                <c:pt idx="43">
                  <c:v>52.418113078974002</c:v>
                </c:pt>
                <c:pt idx="44">
                  <c:v>33.563230493840003</c:v>
                </c:pt>
                <c:pt idx="45">
                  <c:v>35.675825664130997</c:v>
                </c:pt>
                <c:pt idx="46">
                  <c:v>31.232763833787999</c:v>
                </c:pt>
                <c:pt idx="47">
                  <c:v>11.961642998119</c:v>
                </c:pt>
                <c:pt idx="48">
                  <c:v>5.9813382247379998</c:v>
                </c:pt>
                <c:pt idx="49">
                  <c:v>44.097602693962003</c:v>
                </c:pt>
                <c:pt idx="50">
                  <c:v>33.573270305112999</c:v>
                </c:pt>
                <c:pt idx="51">
                  <c:v>24.983962996725001</c:v>
                </c:pt>
                <c:pt idx="52">
                  <c:v>28.600612870275</c:v>
                </c:pt>
                <c:pt idx="53">
                  <c:v>24.750603295954999</c:v>
                </c:pt>
                <c:pt idx="54">
                  <c:v>11.011775717658001</c:v>
                </c:pt>
                <c:pt idx="55">
                  <c:v>6.2028326268990002</c:v>
                </c:pt>
                <c:pt idx="56">
                  <c:v>32.004230124328998</c:v>
                </c:pt>
                <c:pt idx="57">
                  <c:v>33.012572873498002</c:v>
                </c:pt>
                <c:pt idx="58">
                  <c:v>24.1475557702</c:v>
                </c:pt>
                <c:pt idx="59">
                  <c:v>21.552498293759999</c:v>
                </c:pt>
                <c:pt idx="60">
                  <c:v>17.506491990779001</c:v>
                </c:pt>
                <c:pt idx="61">
                  <c:v>10.226143867235001</c:v>
                </c:pt>
                <c:pt idx="62">
                  <c:v>14.621058710861</c:v>
                </c:pt>
                <c:pt idx="63">
                  <c:v>9.6144601480619993</c:v>
                </c:pt>
                <c:pt idx="64">
                  <c:v>27.693988907434001</c:v>
                </c:pt>
                <c:pt idx="65">
                  <c:v>31.851964204459001</c:v>
                </c:pt>
                <c:pt idx="66">
                  <c:v>24.61254470638</c:v>
                </c:pt>
                <c:pt idx="67">
                  <c:v>25.834331477957999</c:v>
                </c:pt>
                <c:pt idx="68">
                  <c:v>7.847938346596</c:v>
                </c:pt>
                <c:pt idx="69">
                  <c:v>3.9284395452430001</c:v>
                </c:pt>
                <c:pt idx="70">
                  <c:v>12.735912886355001</c:v>
                </c:pt>
                <c:pt idx="71">
                  <c:v>18.560661082328</c:v>
                </c:pt>
                <c:pt idx="72">
                  <c:v>22.112841008673001</c:v>
                </c:pt>
                <c:pt idx="73">
                  <c:v>16.681262771591001</c:v>
                </c:pt>
                <c:pt idx="74">
                  <c:v>15.940132219201001</c:v>
                </c:pt>
                <c:pt idx="75">
                  <c:v>4.2104908590240004</c:v>
                </c:pt>
                <c:pt idx="76">
                  <c:v>2.5328639092220002</c:v>
                </c:pt>
                <c:pt idx="77">
                  <c:v>21.150950100677999</c:v>
                </c:pt>
                <c:pt idx="78">
                  <c:v>19.813068010508999</c:v>
                </c:pt>
                <c:pt idx="79">
                  <c:v>19.203407731990001</c:v>
                </c:pt>
                <c:pt idx="80">
                  <c:v>13.297872340425</c:v>
                </c:pt>
                <c:pt idx="81">
                  <c:v>11.72639611766</c:v>
                </c:pt>
                <c:pt idx="82">
                  <c:v>4.5384405918119999</c:v>
                </c:pt>
                <c:pt idx="83">
                  <c:v>0.91036542067899995</c:v>
                </c:pt>
                <c:pt idx="84">
                  <c:v>12.872142844008</c:v>
                </c:pt>
                <c:pt idx="85">
                  <c:v>13.950114390937999</c:v>
                </c:pt>
                <c:pt idx="86">
                  <c:v>7.5294117647050003</c:v>
                </c:pt>
                <c:pt idx="87">
                  <c:v>16.177072330544998</c:v>
                </c:pt>
                <c:pt idx="88">
                  <c:v>11.572846245093</c:v>
                </c:pt>
                <c:pt idx="89">
                  <c:v>3.8655933202539998</c:v>
                </c:pt>
                <c:pt idx="90">
                  <c:v>5.8113631520829996</c:v>
                </c:pt>
                <c:pt idx="91">
                  <c:v>11.704462326261</c:v>
                </c:pt>
                <c:pt idx="92">
                  <c:v>11.782726522917001</c:v>
                </c:pt>
                <c:pt idx="93">
                  <c:v>7.9009224326940002</c:v>
                </c:pt>
                <c:pt idx="94">
                  <c:v>5.9640961412289997</c:v>
                </c:pt>
                <c:pt idx="95">
                  <c:v>16.996600679863999</c:v>
                </c:pt>
                <c:pt idx="96">
                  <c:v>8.0115366127220007</c:v>
                </c:pt>
                <c:pt idx="97">
                  <c:v>2.0061387846810002</c:v>
                </c:pt>
                <c:pt idx="98">
                  <c:v>9.0556925089290008</c:v>
                </c:pt>
                <c:pt idx="99">
                  <c:v>16.164391865269</c:v>
                </c:pt>
                <c:pt idx="100">
                  <c:v>6.0929788573629997</c:v>
                </c:pt>
                <c:pt idx="101">
                  <c:v>8.1597682625810002</c:v>
                </c:pt>
                <c:pt idx="102">
                  <c:v>6.1465963222860003</c:v>
                </c:pt>
                <c:pt idx="103">
                  <c:v>4.1005874091459997</c:v>
                </c:pt>
                <c:pt idx="104">
                  <c:v>1.0258935532839999</c:v>
                </c:pt>
                <c:pt idx="105">
                  <c:v>3.0850232405079998</c:v>
                </c:pt>
                <c:pt idx="106">
                  <c:v>7.213520197856</c:v>
                </c:pt>
                <c:pt idx="107">
                  <c:v>3.0997499535030002</c:v>
                </c:pt>
                <c:pt idx="108">
                  <c:v>4.1459799541860001</c:v>
                </c:pt>
                <c:pt idx="109">
                  <c:v>4.1623742182539996</c:v>
                </c:pt>
                <c:pt idx="110">
                  <c:v>1.041059382027</c:v>
                </c:pt>
                <c:pt idx="111">
                  <c:v>1.0422312085709999</c:v>
                </c:pt>
                <c:pt idx="112">
                  <c:v>1.044495508669</c:v>
                </c:pt>
                <c:pt idx="113">
                  <c:v>3.1400131880550002</c:v>
                </c:pt>
                <c:pt idx="114">
                  <c:v>7.3526322423419996</c:v>
                </c:pt>
                <c:pt idx="115">
                  <c:v>2.108147991989</c:v>
                </c:pt>
                <c:pt idx="116">
                  <c:v>3.1735956839089998</c:v>
                </c:pt>
                <c:pt idx="117">
                  <c:v>1.062925170068</c:v>
                </c:pt>
                <c:pt idx="118">
                  <c:v>1.0638184700160001</c:v>
                </c:pt>
                <c:pt idx="119">
                  <c:v>4.2717243883420002</c:v>
                </c:pt>
                <c:pt idx="120">
                  <c:v>2.1523428251649999</c:v>
                </c:pt>
                <c:pt idx="121">
                  <c:v>0</c:v>
                </c:pt>
                <c:pt idx="122">
                  <c:v>4.3765591491959999</c:v>
                </c:pt>
                <c:pt idx="123">
                  <c:v>0</c:v>
                </c:pt>
                <c:pt idx="124">
                  <c:v>0</c:v>
                </c:pt>
                <c:pt idx="125">
                  <c:v>1.1074687693800001</c:v>
                </c:pt>
                <c:pt idx="126">
                  <c:v>0</c:v>
                </c:pt>
                <c:pt idx="127">
                  <c:v>1.1236333809000001</c:v>
                </c:pt>
                <c:pt idx="128">
                  <c:v>1.1314521056319999</c:v>
                </c:pt>
                <c:pt idx="129">
                  <c:v>1.141956628487</c:v>
                </c:pt>
                <c:pt idx="131">
                  <c:v>1.1579300841810001</c:v>
                </c:pt>
                <c:pt idx="132">
                  <c:v>1.1611569768109999</c:v>
                </c:pt>
                <c:pt idx="133">
                  <c:v>1.1684153950409999</c:v>
                </c:pt>
                <c:pt idx="135">
                  <c:v>0</c:v>
                </c:pt>
                <c:pt idx="136">
                  <c:v>2.3871191053070002</c:v>
                </c:pt>
                <c:pt idx="137">
                  <c:v>0</c:v>
                </c:pt>
                <c:pt idx="138">
                  <c:v>0</c:v>
                </c:pt>
                <c:pt idx="139">
                  <c:v>1.209877439415</c:v>
                </c:pt>
                <c:pt idx="141">
                  <c:v>1.2239602457709999</c:v>
                </c:pt>
                <c:pt idx="142">
                  <c:v>2.4633878973750001</c:v>
                </c:pt>
                <c:pt idx="143">
                  <c:v>2.4805586218009998</c:v>
                </c:pt>
                <c:pt idx="145">
                  <c:v>1.2550043297639999</c:v>
                </c:pt>
                <c:pt idx="146">
                  <c:v>1.2569762180090001</c:v>
                </c:pt>
                <c:pt idx="147">
                  <c:v>0</c:v>
                </c:pt>
                <c:pt idx="148">
                  <c:v>3.8175224279440001</c:v>
                </c:pt>
                <c:pt idx="150">
                  <c:v>1.2905723688449999</c:v>
                </c:pt>
                <c:pt idx="151">
                  <c:v>1.300508498823</c:v>
                </c:pt>
                <c:pt idx="153">
                  <c:v>1.306455195119</c:v>
                </c:pt>
                <c:pt idx="154">
                  <c:v>0</c:v>
                </c:pt>
                <c:pt idx="155">
                  <c:v>1.3227863170980001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1.355472721111</c:v>
                </c:pt>
                <c:pt idx="161">
                  <c:v>2.7322777633570001</c:v>
                </c:pt>
                <c:pt idx="162">
                  <c:v>4.1269448227470003</c:v>
                </c:pt>
                <c:pt idx="163">
                  <c:v>1.385943758402</c:v>
                </c:pt>
                <c:pt idx="164">
                  <c:v>4.191524736981</c:v>
                </c:pt>
                <c:pt idx="165">
                  <c:v>2.8157116711239998</c:v>
                </c:pt>
                <c:pt idx="166">
                  <c:v>1.410934744268</c:v>
                </c:pt>
                <c:pt idx="167">
                  <c:v>2.8256968874939998</c:v>
                </c:pt>
                <c:pt idx="168">
                  <c:v>2.8293345405160002</c:v>
                </c:pt>
                <c:pt idx="169">
                  <c:v>2.833744226246</c:v>
                </c:pt>
                <c:pt idx="170">
                  <c:v>5.7058899048539997</c:v>
                </c:pt>
                <c:pt idx="171">
                  <c:v>2.8701404933769998</c:v>
                </c:pt>
                <c:pt idx="172">
                  <c:v>1.4442727364629999</c:v>
                </c:pt>
                <c:pt idx="173">
                  <c:v>0</c:v>
                </c:pt>
                <c:pt idx="174">
                  <c:v>1.4500108750809999</c:v>
                </c:pt>
                <c:pt idx="175">
                  <c:v>4.375665465789</c:v>
                </c:pt>
                <c:pt idx="176">
                  <c:v>1.4666197348350001</c:v>
                </c:pt>
                <c:pt idx="177">
                  <c:v>0</c:v>
                </c:pt>
                <c:pt idx="178">
                  <c:v>5.9450381225560003</c:v>
                </c:pt>
                <c:pt idx="179">
                  <c:v>1.496490729239</c:v>
                </c:pt>
                <c:pt idx="180">
                  <c:v>1.4993627708220001</c:v>
                </c:pt>
                <c:pt idx="181">
                  <c:v>0</c:v>
                </c:pt>
                <c:pt idx="182">
                  <c:v>0</c:v>
                </c:pt>
                <c:pt idx="183">
                  <c:v>3.0488734412629999</c:v>
                </c:pt>
                <c:pt idx="184">
                  <c:v>7.6769537847380001</c:v>
                </c:pt>
                <c:pt idx="185">
                  <c:v>0</c:v>
                </c:pt>
                <c:pt idx="186">
                  <c:v>4.6694787305240002</c:v>
                </c:pt>
                <c:pt idx="187">
                  <c:v>1.561329003247</c:v>
                </c:pt>
                <c:pt idx="188">
                  <c:v>0</c:v>
                </c:pt>
                <c:pt idx="189">
                  <c:v>12.581583706849001</c:v>
                </c:pt>
                <c:pt idx="190">
                  <c:v>1.582203376422</c:v>
                </c:pt>
                <c:pt idx="191">
                  <c:v>4.7765376470770002</c:v>
                </c:pt>
                <c:pt idx="192">
                  <c:v>3.20122927204</c:v>
                </c:pt>
                <c:pt idx="193">
                  <c:v>9.6567041668669997</c:v>
                </c:pt>
                <c:pt idx="194">
                  <c:v>4.8389438198620001</c:v>
                </c:pt>
                <c:pt idx="195">
                  <c:v>1.6160049126539999</c:v>
                </c:pt>
                <c:pt idx="196">
                  <c:v>4.8698136484639996</c:v>
                </c:pt>
                <c:pt idx="197">
                  <c:v>3.2627491924690002</c:v>
                </c:pt>
                <c:pt idx="198">
                  <c:v>4.9205333858189997</c:v>
                </c:pt>
                <c:pt idx="199">
                  <c:v>0</c:v>
                </c:pt>
                <c:pt idx="200">
                  <c:v>3.3170246289069998</c:v>
                </c:pt>
                <c:pt idx="201">
                  <c:v>0</c:v>
                </c:pt>
                <c:pt idx="202">
                  <c:v>0</c:v>
                </c:pt>
                <c:pt idx="203">
                  <c:v>3.3523860607780001</c:v>
                </c:pt>
                <c:pt idx="204">
                  <c:v>3.3699534946409999</c:v>
                </c:pt>
                <c:pt idx="205">
                  <c:v>3.390922500466</c:v>
                </c:pt>
                <c:pt idx="206">
                  <c:v>5.1139559858850001</c:v>
                </c:pt>
                <c:pt idx="207">
                  <c:v>1.7155601303820001</c:v>
                </c:pt>
                <c:pt idx="208">
                  <c:v>0</c:v>
                </c:pt>
                <c:pt idx="209">
                  <c:v>3.441570732882</c:v>
                </c:pt>
                <c:pt idx="210">
                  <c:v>0</c:v>
                </c:pt>
                <c:pt idx="211">
                  <c:v>1.7384350607579999</c:v>
                </c:pt>
                <c:pt idx="212">
                  <c:v>3.4954646346359999</c:v>
                </c:pt>
                <c:pt idx="213">
                  <c:v>14.055060700293</c:v>
                </c:pt>
                <c:pt idx="214">
                  <c:v>8.8440788891830007</c:v>
                </c:pt>
                <c:pt idx="215">
                  <c:v>10.625298836529</c:v>
                </c:pt>
                <c:pt idx="216">
                  <c:v>1.7724839590200001</c:v>
                </c:pt>
                <c:pt idx="217">
                  <c:v>7.1256791662949999</c:v>
                </c:pt>
                <c:pt idx="218">
                  <c:v>8.9479052953699991</c:v>
                </c:pt>
                <c:pt idx="219">
                  <c:v>1.7971066582799999</c:v>
                </c:pt>
                <c:pt idx="220">
                  <c:v>5.4125245818819998</c:v>
                </c:pt>
                <c:pt idx="221">
                  <c:v>1.811889619684</c:v>
                </c:pt>
                <c:pt idx="222">
                  <c:v>1.813137997933</c:v>
                </c:pt>
                <c:pt idx="223">
                  <c:v>3.6286445198389998</c:v>
                </c:pt>
                <c:pt idx="224">
                  <c:v>3.6376864314290001</c:v>
                </c:pt>
                <c:pt idx="225">
                  <c:v>7.2954093636569999</c:v>
                </c:pt>
                <c:pt idx="226">
                  <c:v>5.4823559510970004</c:v>
                </c:pt>
                <c:pt idx="227">
                  <c:v>10.98901098901</c:v>
                </c:pt>
                <c:pt idx="228">
                  <c:v>14.685635612665999</c:v>
                </c:pt>
                <c:pt idx="229">
                  <c:v>3.6720829890750002</c:v>
                </c:pt>
                <c:pt idx="230">
                  <c:v>9.1793647879560005</c:v>
                </c:pt>
                <c:pt idx="231">
                  <c:v>16.556291390727999</c:v>
                </c:pt>
                <c:pt idx="232">
                  <c:v>14.738665045413001</c:v>
                </c:pt>
                <c:pt idx="233">
                  <c:v>14.760964629038</c:v>
                </c:pt>
                <c:pt idx="234">
                  <c:v>9.2397531137960005</c:v>
                </c:pt>
                <c:pt idx="235">
                  <c:v>11.110905353604</c:v>
                </c:pt>
                <c:pt idx="236">
                  <c:v>9.2589163364309996</c:v>
                </c:pt>
                <c:pt idx="237">
                  <c:v>9.2582305669739995</c:v>
                </c:pt>
                <c:pt idx="238">
                  <c:v>7.4152345994840001</c:v>
                </c:pt>
                <c:pt idx="239">
                  <c:v>14.853599212759001</c:v>
                </c:pt>
                <c:pt idx="240">
                  <c:v>24.169408964991</c:v>
                </c:pt>
                <c:pt idx="241">
                  <c:v>35.379773941864997</c:v>
                </c:pt>
                <c:pt idx="242">
                  <c:v>31.722928212879001</c:v>
                </c:pt>
                <c:pt idx="243">
                  <c:v>13.067502986857001</c:v>
                </c:pt>
                <c:pt idx="244">
                  <c:v>11.204481792717001</c:v>
                </c:pt>
                <c:pt idx="245">
                  <c:v>18.710474123413999</c:v>
                </c:pt>
                <c:pt idx="246">
                  <c:v>28.108837418484001</c:v>
                </c:pt>
                <c:pt idx="247">
                  <c:v>22.517451024543998</c:v>
                </c:pt>
                <c:pt idx="248">
                  <c:v>13.160368490317</c:v>
                </c:pt>
                <c:pt idx="249">
                  <c:v>15.076702725114</c:v>
                </c:pt>
                <c:pt idx="250">
                  <c:v>7.5417625098979997</c:v>
                </c:pt>
                <c:pt idx="251">
                  <c:v>9.4305814896539992</c:v>
                </c:pt>
                <c:pt idx="252">
                  <c:v>34.003324769533002</c:v>
                </c:pt>
                <c:pt idx="253">
                  <c:v>49.123337363966002</c:v>
                </c:pt>
                <c:pt idx="254">
                  <c:v>28.399409292285998</c:v>
                </c:pt>
                <c:pt idx="255">
                  <c:v>45.507119968144998</c:v>
                </c:pt>
                <c:pt idx="256">
                  <c:v>22.79029133589</c:v>
                </c:pt>
                <c:pt idx="257">
                  <c:v>15.198723307242</c:v>
                </c:pt>
                <c:pt idx="258">
                  <c:v>24.703557312251998</c:v>
                </c:pt>
                <c:pt idx="259">
                  <c:v>97.052275019505004</c:v>
                </c:pt>
                <c:pt idx="260">
                  <c:v>81.950029540125996</c:v>
                </c:pt>
                <c:pt idx="261">
                  <c:v>78.238302419662006</c:v>
                </c:pt>
                <c:pt idx="262">
                  <c:v>107.005006305652</c:v>
                </c:pt>
                <c:pt idx="263">
                  <c:v>84.234708528764003</c:v>
                </c:pt>
                <c:pt idx="264">
                  <c:v>57.452553766013999</c:v>
                </c:pt>
                <c:pt idx="265">
                  <c:v>34.477474716518003</c:v>
                </c:pt>
                <c:pt idx="266">
                  <c:v>113.18076310690699</c:v>
                </c:pt>
                <c:pt idx="267">
                  <c:v>136.36800153653999</c:v>
                </c:pt>
                <c:pt idx="268">
                  <c:v>146.13136440547601</c:v>
                </c:pt>
                <c:pt idx="269">
                  <c:v>78.950915638058007</c:v>
                </c:pt>
                <c:pt idx="270">
                  <c:v>158.23700816271301</c:v>
                </c:pt>
                <c:pt idx="271">
                  <c:v>127.415587173497</c:v>
                </c:pt>
                <c:pt idx="272">
                  <c:v>63.721325403568002</c:v>
                </c:pt>
                <c:pt idx="273">
                  <c:v>204.929917834702</c:v>
                </c:pt>
                <c:pt idx="274">
                  <c:v>228.29283392663601</c:v>
                </c:pt>
                <c:pt idx="275">
                  <c:v>215.04959702417801</c:v>
                </c:pt>
                <c:pt idx="276">
                  <c:v>176.64072053885101</c:v>
                </c:pt>
                <c:pt idx="277">
                  <c:v>200.45540353813499</c:v>
                </c:pt>
                <c:pt idx="278">
                  <c:v>105.166806239897</c:v>
                </c:pt>
                <c:pt idx="279">
                  <c:v>44.820328942240003</c:v>
                </c:pt>
                <c:pt idx="280">
                  <c:v>220.59971888177401</c:v>
                </c:pt>
                <c:pt idx="281">
                  <c:v>230.99209145720701</c:v>
                </c:pt>
                <c:pt idx="282">
                  <c:v>247.41296365385699</c:v>
                </c:pt>
                <c:pt idx="283">
                  <c:v>200.440182361263</c:v>
                </c:pt>
                <c:pt idx="284">
                  <c:v>295.56067860731798</c:v>
                </c:pt>
                <c:pt idx="285">
                  <c:v>159.76961615842799</c:v>
                </c:pt>
                <c:pt idx="286">
                  <c:v>80.933299117629005</c:v>
                </c:pt>
                <c:pt idx="287">
                  <c:v>308.85584747272702</c:v>
                </c:pt>
                <c:pt idx="288">
                  <c:v>371.230619577948</c:v>
                </c:pt>
                <c:pt idx="289">
                  <c:v>244.84433474002699</c:v>
                </c:pt>
                <c:pt idx="290">
                  <c:v>301.58983782056401</c:v>
                </c:pt>
                <c:pt idx="291">
                  <c:v>537.58048663069405</c:v>
                </c:pt>
                <c:pt idx="292">
                  <c:v>273.13076135199702</c:v>
                </c:pt>
                <c:pt idx="293">
                  <c:v>142.70496251482299</c:v>
                </c:pt>
                <c:pt idx="294">
                  <c:v>338.73016513095502</c:v>
                </c:pt>
                <c:pt idx="295">
                  <c:v>438.52558402715999</c:v>
                </c:pt>
                <c:pt idx="296">
                  <c:v>293.849427500253</c:v>
                </c:pt>
                <c:pt idx="297">
                  <c:v>451.40300935339502</c:v>
                </c:pt>
                <c:pt idx="298">
                  <c:v>288.06668437289301</c:v>
                </c:pt>
                <c:pt idx="299">
                  <c:v>175.92668357744799</c:v>
                </c:pt>
                <c:pt idx="300">
                  <c:v>116.71478592051101</c:v>
                </c:pt>
                <c:pt idx="301">
                  <c:v>361.91651244088001</c:v>
                </c:pt>
                <c:pt idx="302">
                  <c:v>347.16482063150897</c:v>
                </c:pt>
                <c:pt idx="303">
                  <c:v>316.58665783810602</c:v>
                </c:pt>
                <c:pt idx="304">
                  <c:v>236.96682464454901</c:v>
                </c:pt>
                <c:pt idx="305">
                  <c:v>265.695935061402</c:v>
                </c:pt>
                <c:pt idx="306">
                  <c:v>155.055002619172</c:v>
                </c:pt>
                <c:pt idx="307">
                  <c:v>90.205374562084003</c:v>
                </c:pt>
                <c:pt idx="308">
                  <c:v>297.34916383728</c:v>
                </c:pt>
                <c:pt idx="309">
                  <c:v>298.84277902589901</c:v>
                </c:pt>
                <c:pt idx="310">
                  <c:v>236.608189627608</c:v>
                </c:pt>
                <c:pt idx="311">
                  <c:v>205.92904028486799</c:v>
                </c:pt>
                <c:pt idx="312">
                  <c:v>198.80286103247801</c:v>
                </c:pt>
                <c:pt idx="313">
                  <c:v>129.86731888920099</c:v>
                </c:pt>
                <c:pt idx="314">
                  <c:v>84.503380135205006</c:v>
                </c:pt>
                <c:pt idx="315">
                  <c:v>204.53457504678099</c:v>
                </c:pt>
                <c:pt idx="316">
                  <c:v>288.47414659731601</c:v>
                </c:pt>
                <c:pt idx="317">
                  <c:v>175.635030406814</c:v>
                </c:pt>
                <c:pt idx="318">
                  <c:v>154.41971277933399</c:v>
                </c:pt>
                <c:pt idx="319">
                  <c:v>166.43735298033801</c:v>
                </c:pt>
                <c:pt idx="320">
                  <c:v>104.479270868067</c:v>
                </c:pt>
                <c:pt idx="321">
                  <c:v>68.987003738650003</c:v>
                </c:pt>
                <c:pt idx="322">
                  <c:v>176.642890682646</c:v>
                </c:pt>
                <c:pt idx="323">
                  <c:v>177.54005888037301</c:v>
                </c:pt>
                <c:pt idx="324">
                  <c:v>103.65029292474</c:v>
                </c:pt>
                <c:pt idx="325">
                  <c:v>124.555563104377</c:v>
                </c:pt>
                <c:pt idx="326">
                  <c:v>36.504677161761002</c:v>
                </c:pt>
                <c:pt idx="327">
                  <c:v>43.442473019936998</c:v>
                </c:pt>
                <c:pt idx="328">
                  <c:v>34.347736484164997</c:v>
                </c:pt>
                <c:pt idx="329">
                  <c:v>96.620580183578994</c:v>
                </c:pt>
                <c:pt idx="330">
                  <c:v>187.25293016159199</c:v>
                </c:pt>
                <c:pt idx="331">
                  <c:v>169.65696755600999</c:v>
                </c:pt>
                <c:pt idx="332">
                  <c:v>102.87103712709199</c:v>
                </c:pt>
                <c:pt idx="333">
                  <c:v>141.33609723923399</c:v>
                </c:pt>
                <c:pt idx="334">
                  <c:v>16.550810989738</c:v>
                </c:pt>
                <c:pt idx="335">
                  <c:v>52.143822142163003</c:v>
                </c:pt>
                <c:pt idx="336">
                  <c:v>116.883736462955</c:v>
                </c:pt>
                <c:pt idx="337">
                  <c:v>122.43428159884699</c:v>
                </c:pt>
                <c:pt idx="338">
                  <c:v>113.551255103766</c:v>
                </c:pt>
                <c:pt idx="339">
                  <c:v>130.956711531465</c:v>
                </c:pt>
                <c:pt idx="340">
                  <c:v>92.331616289240003</c:v>
                </c:pt>
                <c:pt idx="341">
                  <c:v>51.124744376278002</c:v>
                </c:pt>
                <c:pt idx="342">
                  <c:v>34.150506159286998</c:v>
                </c:pt>
                <c:pt idx="343">
                  <c:v>105.42316367559</c:v>
                </c:pt>
                <c:pt idx="344">
                  <c:v>170.072219072736</c:v>
                </c:pt>
                <c:pt idx="345">
                  <c:v>138.740926095681</c:v>
                </c:pt>
                <c:pt idx="346">
                  <c:v>139.27576601671299</c:v>
                </c:pt>
                <c:pt idx="347">
                  <c:v>187.027754918829</c:v>
                </c:pt>
                <c:pt idx="348">
                  <c:v>124.93440943504601</c:v>
                </c:pt>
                <c:pt idx="349">
                  <c:v>107.67766815245101</c:v>
                </c:pt>
                <c:pt idx="350">
                  <c:v>271.930708026991</c:v>
                </c:pt>
                <c:pt idx="351">
                  <c:v>346.71255757453002</c:v>
                </c:pt>
                <c:pt idx="352">
                  <c:v>391.61835011697599</c:v>
                </c:pt>
                <c:pt idx="353">
                  <c:v>421.71446097224299</c:v>
                </c:pt>
                <c:pt idx="354">
                  <c:v>370.532382986387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0B-4754-90A8-6FC4E50C7F8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 - bez posilující dávky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56</c:f>
              <c:numCache>
                <c:formatCode>m/d/yyyy</c:formatCode>
                <c:ptCount val="355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</c:numCache>
            </c:numRef>
          </c:cat>
          <c:val>
            <c:numRef>
              <c:f>List1!$C$2:$C$356</c:f>
              <c:numCache>
                <c:formatCode>General</c:formatCode>
                <c:ptCount val="35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81749772122499997</c:v>
                </c:pt>
                <c:pt idx="9">
                  <c:v>0.81752779594500002</c:v>
                </c:pt>
                <c:pt idx="10">
                  <c:v>1.22633179633</c:v>
                </c:pt>
                <c:pt idx="11">
                  <c:v>2.4527538293609998</c:v>
                </c:pt>
                <c:pt idx="12">
                  <c:v>0.40880567422199998</c:v>
                </c:pt>
                <c:pt idx="13">
                  <c:v>0</c:v>
                </c:pt>
                <c:pt idx="14">
                  <c:v>1.226502260852</c:v>
                </c:pt>
                <c:pt idx="15">
                  <c:v>2.4530847540780001</c:v>
                </c:pt>
                <c:pt idx="16">
                  <c:v>0.81772500725700004</c:v>
                </c:pt>
                <c:pt idx="17">
                  <c:v>4.0887587754980004</c:v>
                </c:pt>
                <c:pt idx="18">
                  <c:v>2.862224766422</c:v>
                </c:pt>
                <c:pt idx="19">
                  <c:v>1.63561720015</c:v>
                </c:pt>
                <c:pt idx="20">
                  <c:v>0.408917676693</c:v>
                </c:pt>
                <c:pt idx="21">
                  <c:v>3.6803945382940002</c:v>
                </c:pt>
                <c:pt idx="22">
                  <c:v>5.7252454698989999</c:v>
                </c:pt>
                <c:pt idx="23">
                  <c:v>5.7254561961699997</c:v>
                </c:pt>
                <c:pt idx="24">
                  <c:v>4.9076944469430002</c:v>
                </c:pt>
                <c:pt idx="25">
                  <c:v>8.5887462884340007</c:v>
                </c:pt>
                <c:pt idx="26">
                  <c:v>3.681026761064</c:v>
                </c:pt>
                <c:pt idx="27">
                  <c:v>4.4991799222050002</c:v>
                </c:pt>
                <c:pt idx="28">
                  <c:v>8.1797918242980003</c:v>
                </c:pt>
                <c:pt idx="29">
                  <c:v>5.3165385244559999</c:v>
                </c:pt>
                <c:pt idx="30">
                  <c:v>7.7698171230410003</c:v>
                </c:pt>
                <c:pt idx="31">
                  <c:v>4.4978737324170002</c:v>
                </c:pt>
                <c:pt idx="32">
                  <c:v>6.541693071938</c:v>
                </c:pt>
                <c:pt idx="33">
                  <c:v>3.679341316141</c:v>
                </c:pt>
                <c:pt idx="34">
                  <c:v>1.635102377847</c:v>
                </c:pt>
                <c:pt idx="35">
                  <c:v>5.7222969299870003</c:v>
                </c:pt>
                <c:pt idx="36">
                  <c:v>6.9477934625350004</c:v>
                </c:pt>
                <c:pt idx="37">
                  <c:v>2.4519218981140001</c:v>
                </c:pt>
                <c:pt idx="38">
                  <c:v>6.1292036121429998</c:v>
                </c:pt>
                <c:pt idx="39">
                  <c:v>6.5371761033520004</c:v>
                </c:pt>
                <c:pt idx="40">
                  <c:v>2.859734126432</c:v>
                </c:pt>
                <c:pt idx="41">
                  <c:v>3.267933808</c:v>
                </c:pt>
                <c:pt idx="42">
                  <c:v>8.1690336441649993</c:v>
                </c:pt>
                <c:pt idx="43">
                  <c:v>4.4925281089310003</c:v>
                </c:pt>
                <c:pt idx="44">
                  <c:v>3.26697294538</c:v>
                </c:pt>
                <c:pt idx="45">
                  <c:v>5.3082890975900003</c:v>
                </c:pt>
                <c:pt idx="46">
                  <c:v>6.1243487775789998</c:v>
                </c:pt>
                <c:pt idx="47">
                  <c:v>1.224749742802</c:v>
                </c:pt>
                <c:pt idx="48">
                  <c:v>1.6328396714719999</c:v>
                </c:pt>
                <c:pt idx="49">
                  <c:v>5.714379010269</c:v>
                </c:pt>
                <c:pt idx="50">
                  <c:v>5.7137959603460002</c:v>
                </c:pt>
                <c:pt idx="51">
                  <c:v>6.5294129649650001</c:v>
                </c:pt>
                <c:pt idx="52">
                  <c:v>4.0804834556790004</c:v>
                </c:pt>
                <c:pt idx="53">
                  <c:v>3.2640671092189999</c:v>
                </c:pt>
                <c:pt idx="54">
                  <c:v>3.2637342014859998</c:v>
                </c:pt>
                <c:pt idx="55">
                  <c:v>1.6317073369720001</c:v>
                </c:pt>
                <c:pt idx="56">
                  <c:v>4.0788690112000001</c:v>
                </c:pt>
                <c:pt idx="57">
                  <c:v>2.4470818548879998</c:v>
                </c:pt>
                <c:pt idx="58">
                  <c:v>4.8936647431839999</c:v>
                </c:pt>
                <c:pt idx="59">
                  <c:v>2.038652858191</c:v>
                </c:pt>
                <c:pt idx="60">
                  <c:v>1.2229623409120001</c:v>
                </c:pt>
                <c:pt idx="61">
                  <c:v>3.6681991587590002</c:v>
                </c:pt>
                <c:pt idx="62">
                  <c:v>0.40750294420799998</c:v>
                </c:pt>
                <c:pt idx="63">
                  <c:v>1.222279714638</c:v>
                </c:pt>
                <c:pt idx="64">
                  <c:v>3.6661520475449998</c:v>
                </c:pt>
                <c:pt idx="65">
                  <c:v>2.850928995576</c:v>
                </c:pt>
                <c:pt idx="66">
                  <c:v>4.0719928332919997</c:v>
                </c:pt>
                <c:pt idx="67">
                  <c:v>2.035615122177</c:v>
                </c:pt>
                <c:pt idx="68">
                  <c:v>2.0352339704969999</c:v>
                </c:pt>
                <c:pt idx="69">
                  <c:v>0.81394449712399997</c:v>
                </c:pt>
                <c:pt idx="70">
                  <c:v>3.6620646720619998</c:v>
                </c:pt>
                <c:pt idx="71">
                  <c:v>2.0340996464729999</c:v>
                </c:pt>
                <c:pt idx="72">
                  <c:v>2.0337273341080002</c:v>
                </c:pt>
                <c:pt idx="73">
                  <c:v>2.4400162667749998</c:v>
                </c:pt>
                <c:pt idx="74">
                  <c:v>2.0329665861609998</c:v>
                </c:pt>
                <c:pt idx="75">
                  <c:v>2.4391037106889999</c:v>
                </c:pt>
                <c:pt idx="76">
                  <c:v>1.6257717335190001</c:v>
                </c:pt>
                <c:pt idx="77">
                  <c:v>2.8445687024290001</c:v>
                </c:pt>
                <c:pt idx="78">
                  <c:v>2.8440370699909998</c:v>
                </c:pt>
                <c:pt idx="79">
                  <c:v>4.8746008920510002</c:v>
                </c:pt>
                <c:pt idx="80">
                  <c:v>1.624563398586</c:v>
                </c:pt>
                <c:pt idx="81">
                  <c:v>2.0303249332019999</c:v>
                </c:pt>
                <c:pt idx="82">
                  <c:v>0.40598915196899998</c:v>
                </c:pt>
                <c:pt idx="83">
                  <c:v>0.40591499328199998</c:v>
                </c:pt>
                <c:pt idx="84">
                  <c:v>2.8408745023390001</c:v>
                </c:pt>
                <c:pt idx="85">
                  <c:v>2.840344249723</c:v>
                </c:pt>
                <c:pt idx="86">
                  <c:v>1.2170681639300001</c:v>
                </c:pt>
                <c:pt idx="87">
                  <c:v>4.0561369351819998</c:v>
                </c:pt>
                <c:pt idx="88">
                  <c:v>2.4332281638039999</c:v>
                </c:pt>
                <c:pt idx="89">
                  <c:v>0.81097081315999997</c:v>
                </c:pt>
                <c:pt idx="90">
                  <c:v>1.6220271284029999</c:v>
                </c:pt>
                <c:pt idx="91">
                  <c:v>2.8387086308899998</c:v>
                </c:pt>
                <c:pt idx="92">
                  <c:v>4.4610630307649997</c:v>
                </c:pt>
                <c:pt idx="93">
                  <c:v>3.2445936957539998</c:v>
                </c:pt>
                <c:pt idx="94">
                  <c:v>1.216786790562</c:v>
                </c:pt>
                <c:pt idx="95">
                  <c:v>1.622474517009</c:v>
                </c:pt>
                <c:pt idx="96">
                  <c:v>0</c:v>
                </c:pt>
                <c:pt idx="97">
                  <c:v>0</c:v>
                </c:pt>
                <c:pt idx="98">
                  <c:v>1.622737802082</c:v>
                </c:pt>
                <c:pt idx="99">
                  <c:v>1.217117541098</c:v>
                </c:pt>
                <c:pt idx="100">
                  <c:v>2.4343733517259998</c:v>
                </c:pt>
                <c:pt idx="101">
                  <c:v>2.4345017589269999</c:v>
                </c:pt>
                <c:pt idx="102">
                  <c:v>0.81154668625100002</c:v>
                </c:pt>
                <c:pt idx="103">
                  <c:v>0.811589498031</c:v>
                </c:pt>
                <c:pt idx="104">
                  <c:v>0.405817804038</c:v>
                </c:pt>
                <c:pt idx="105">
                  <c:v>3.2467137169589999</c:v>
                </c:pt>
                <c:pt idx="106">
                  <c:v>1.217586824087</c:v>
                </c:pt>
                <c:pt idx="107">
                  <c:v>1.217651069909</c:v>
                </c:pt>
                <c:pt idx="108">
                  <c:v>1.6236270204000001</c:v>
                </c:pt>
                <c:pt idx="109">
                  <c:v>0.405928175068</c:v>
                </c:pt>
                <c:pt idx="110">
                  <c:v>0.40594959729699998</c:v>
                </c:pt>
                <c:pt idx="111">
                  <c:v>0</c:v>
                </c:pt>
                <c:pt idx="112">
                  <c:v>1.2179822905369999</c:v>
                </c:pt>
                <c:pt idx="113">
                  <c:v>0.812034349052</c:v>
                </c:pt>
                <c:pt idx="114">
                  <c:v>0.40603860614999998</c:v>
                </c:pt>
                <c:pt idx="115">
                  <c:v>1.218185066675</c:v>
                </c:pt>
                <c:pt idx="116">
                  <c:v>1.624332500862</c:v>
                </c:pt>
                <c:pt idx="117">
                  <c:v>0.40610621301799998</c:v>
                </c:pt>
                <c:pt idx="118">
                  <c:v>0</c:v>
                </c:pt>
                <c:pt idx="119">
                  <c:v>0.81229819466700004</c:v>
                </c:pt>
                <c:pt idx="120">
                  <c:v>0</c:v>
                </c:pt>
                <c:pt idx="121">
                  <c:v>0</c:v>
                </c:pt>
                <c:pt idx="122">
                  <c:v>1.2185215272130001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.40620684052299999</c:v>
                </c:pt>
                <c:pt idx="127">
                  <c:v>0.40621344078999999</c:v>
                </c:pt>
                <c:pt idx="128">
                  <c:v>0</c:v>
                </c:pt>
                <c:pt idx="129">
                  <c:v>0</c:v>
                </c:pt>
                <c:pt idx="131">
                  <c:v>0.40624644534299997</c:v>
                </c:pt>
                <c:pt idx="132">
                  <c:v>0.40625469731899999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.406302565394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.40637521436200003</c:v>
                </c:pt>
                <c:pt idx="148">
                  <c:v>0</c:v>
                </c:pt>
                <c:pt idx="150">
                  <c:v>0.40637356296100002</c:v>
                </c:pt>
                <c:pt idx="151">
                  <c:v>0.812694284727</c:v>
                </c:pt>
                <c:pt idx="153">
                  <c:v>0.40629596222999997</c:v>
                </c:pt>
                <c:pt idx="154">
                  <c:v>0.81253910344400004</c:v>
                </c:pt>
                <c:pt idx="155">
                  <c:v>0</c:v>
                </c:pt>
                <c:pt idx="156">
                  <c:v>0.406218391131</c:v>
                </c:pt>
                <c:pt idx="157">
                  <c:v>1.2185759721180001</c:v>
                </c:pt>
                <c:pt idx="158">
                  <c:v>0.81233118742499999</c:v>
                </c:pt>
                <c:pt idx="159">
                  <c:v>0</c:v>
                </c:pt>
                <c:pt idx="161">
                  <c:v>2.0304403619050002</c:v>
                </c:pt>
                <c:pt idx="162">
                  <c:v>0.406063337759</c:v>
                </c:pt>
                <c:pt idx="163">
                  <c:v>1.6241478299350001</c:v>
                </c:pt>
                <c:pt idx="164">
                  <c:v>0.40601058063500001</c:v>
                </c:pt>
                <c:pt idx="165">
                  <c:v>2.0299292772630002</c:v>
                </c:pt>
                <c:pt idx="166">
                  <c:v>0</c:v>
                </c:pt>
                <c:pt idx="167">
                  <c:v>0.40593311845899999</c:v>
                </c:pt>
                <c:pt idx="168">
                  <c:v>2.0295420135489999</c:v>
                </c:pt>
                <c:pt idx="169">
                  <c:v>2.029410212803</c:v>
                </c:pt>
                <c:pt idx="170">
                  <c:v>0.81171137166999996</c:v>
                </c:pt>
                <c:pt idx="171">
                  <c:v>2.029154897568</c:v>
                </c:pt>
                <c:pt idx="172">
                  <c:v>1.217413888257</c:v>
                </c:pt>
                <c:pt idx="173">
                  <c:v>0.40577828274599997</c:v>
                </c:pt>
                <c:pt idx="174">
                  <c:v>0</c:v>
                </c:pt>
                <c:pt idx="175">
                  <c:v>2.0286362290079998</c:v>
                </c:pt>
                <c:pt idx="176">
                  <c:v>1.2171027275270001</c:v>
                </c:pt>
                <c:pt idx="177">
                  <c:v>0.81135244338699997</c:v>
                </c:pt>
                <c:pt idx="178">
                  <c:v>0.40564989169100002</c:v>
                </c:pt>
                <c:pt idx="179">
                  <c:v>0.81124713021299999</c:v>
                </c:pt>
                <c:pt idx="180">
                  <c:v>0.40559724193800001</c:v>
                </c:pt>
                <c:pt idx="181">
                  <c:v>0.40561533874900002</c:v>
                </c:pt>
                <c:pt idx="182">
                  <c:v>0.81126687435</c:v>
                </c:pt>
                <c:pt idx="183">
                  <c:v>1.6225995667649999</c:v>
                </c:pt>
                <c:pt idx="184">
                  <c:v>1.622671972804</c:v>
                </c:pt>
                <c:pt idx="185">
                  <c:v>1.2170533515619999</c:v>
                </c:pt>
                <c:pt idx="186">
                  <c:v>0.405702555114</c:v>
                </c:pt>
                <c:pt idx="187">
                  <c:v>0</c:v>
                </c:pt>
                <c:pt idx="188">
                  <c:v>0.81147424583600003</c:v>
                </c:pt>
                <c:pt idx="189">
                  <c:v>1.2172607575409999</c:v>
                </c:pt>
                <c:pt idx="190">
                  <c:v>0.81154339322500002</c:v>
                </c:pt>
                <c:pt idx="191">
                  <c:v>1.623159235978</c:v>
                </c:pt>
                <c:pt idx="192">
                  <c:v>0.81161255239899999</c:v>
                </c:pt>
                <c:pt idx="193">
                  <c:v>1.217473175007</c:v>
                </c:pt>
                <c:pt idx="194">
                  <c:v>0.40584086168099998</c:v>
                </c:pt>
                <c:pt idx="195">
                  <c:v>0.40585898023799999</c:v>
                </c:pt>
                <c:pt idx="196">
                  <c:v>1.2176263591750001</c:v>
                </c:pt>
                <c:pt idx="197">
                  <c:v>0.405893574704</c:v>
                </c:pt>
                <c:pt idx="198">
                  <c:v>0</c:v>
                </c:pt>
                <c:pt idx="199">
                  <c:v>1.217784525206</c:v>
                </c:pt>
                <c:pt idx="200">
                  <c:v>0.40594465350499997</c:v>
                </c:pt>
                <c:pt idx="201">
                  <c:v>0.40596278133199998</c:v>
                </c:pt>
                <c:pt idx="202">
                  <c:v>0.81196182155499996</c:v>
                </c:pt>
                <c:pt idx="203">
                  <c:v>1.623989573986</c:v>
                </c:pt>
                <c:pt idx="204">
                  <c:v>1.2180465781009999</c:v>
                </c:pt>
                <c:pt idx="205">
                  <c:v>1.6241280462550001</c:v>
                </c:pt>
                <c:pt idx="206">
                  <c:v>0.40605014719299998</c:v>
                </c:pt>
                <c:pt idx="207">
                  <c:v>1.2181999066039999</c:v>
                </c:pt>
                <c:pt idx="208">
                  <c:v>0.40608477425700001</c:v>
                </c:pt>
                <c:pt idx="209">
                  <c:v>0</c:v>
                </c:pt>
                <c:pt idx="210">
                  <c:v>0.406119407228</c:v>
                </c:pt>
                <c:pt idx="211">
                  <c:v>2.4368154071710002</c:v>
                </c:pt>
                <c:pt idx="212">
                  <c:v>2.0304980811790001</c:v>
                </c:pt>
                <c:pt idx="213">
                  <c:v>1.6242533510370001</c:v>
                </c:pt>
                <c:pt idx="214">
                  <c:v>3.248216526113</c:v>
                </c:pt>
                <c:pt idx="215">
                  <c:v>1.2179724007449999</c:v>
                </c:pt>
                <c:pt idx="216">
                  <c:v>0.81190908242000004</c:v>
                </c:pt>
                <c:pt idx="217">
                  <c:v>1.2177548659449999</c:v>
                </c:pt>
                <c:pt idx="218">
                  <c:v>2.8411627661560002</c:v>
                </c:pt>
                <c:pt idx="219">
                  <c:v>0.40584415584400002</c:v>
                </c:pt>
                <c:pt idx="220">
                  <c:v>1.6232316919750001</c:v>
                </c:pt>
                <c:pt idx="221">
                  <c:v>1.62308678645</c:v>
                </c:pt>
                <c:pt idx="222">
                  <c:v>1.2172064300950001</c:v>
                </c:pt>
                <c:pt idx="223">
                  <c:v>1.2170977897499999</c:v>
                </c:pt>
                <c:pt idx="224">
                  <c:v>2.8396298745280002</c:v>
                </c:pt>
                <c:pt idx="225">
                  <c:v>2.4337512625079998</c:v>
                </c:pt>
                <c:pt idx="226">
                  <c:v>2.0279533084030001</c:v>
                </c:pt>
                <c:pt idx="227">
                  <c:v>4.0555282933930004</c:v>
                </c:pt>
                <c:pt idx="228">
                  <c:v>1.2165647455749999</c:v>
                </c:pt>
                <c:pt idx="229">
                  <c:v>1.216441422263</c:v>
                </c:pt>
                <c:pt idx="230">
                  <c:v>1.621770649194</c:v>
                </c:pt>
                <c:pt idx="231">
                  <c:v>3.2465819579319999</c:v>
                </c:pt>
                <c:pt idx="232">
                  <c:v>4.0625469731989998</c:v>
                </c:pt>
                <c:pt idx="233">
                  <c:v>3.2531962653300002</c:v>
                </c:pt>
                <c:pt idx="234">
                  <c:v>3.2578728533670001</c:v>
                </c:pt>
                <c:pt idx="235">
                  <c:v>2.8536834938869999</c:v>
                </c:pt>
                <c:pt idx="236">
                  <c:v>1.630835844141</c:v>
                </c:pt>
                <c:pt idx="237">
                  <c:v>1.6310220391850001</c:v>
                </c:pt>
                <c:pt idx="238">
                  <c:v>4.9024213876299996</c:v>
                </c:pt>
                <c:pt idx="239">
                  <c:v>4.085551447306</c:v>
                </c:pt>
                <c:pt idx="240">
                  <c:v>4.0978400285200003</c:v>
                </c:pt>
                <c:pt idx="241">
                  <c:v>7.3983041442830002</c:v>
                </c:pt>
                <c:pt idx="242">
                  <c:v>1.653616873506</c:v>
                </c:pt>
                <c:pt idx="243">
                  <c:v>2.8945714380230001</c:v>
                </c:pt>
                <c:pt idx="244">
                  <c:v>4.1358545502670001</c:v>
                </c:pt>
                <c:pt idx="245">
                  <c:v>4.153013634343</c:v>
                </c:pt>
                <c:pt idx="246">
                  <c:v>4.5895674958479997</c:v>
                </c:pt>
                <c:pt idx="247">
                  <c:v>5.4563387966669996</c:v>
                </c:pt>
                <c:pt idx="248">
                  <c:v>8.4387473523430003</c:v>
                </c:pt>
                <c:pt idx="249">
                  <c:v>6.8222131259380001</c:v>
                </c:pt>
                <c:pt idx="250">
                  <c:v>2.560928763498</c:v>
                </c:pt>
                <c:pt idx="251">
                  <c:v>2.135009458091</c:v>
                </c:pt>
                <c:pt idx="252">
                  <c:v>9.442424814692</c:v>
                </c:pt>
                <c:pt idx="253">
                  <c:v>14.246244171991</c:v>
                </c:pt>
                <c:pt idx="254">
                  <c:v>13.900170711471</c:v>
                </c:pt>
                <c:pt idx="255">
                  <c:v>10.062298754024001</c:v>
                </c:pt>
                <c:pt idx="256">
                  <c:v>11.044110176043</c:v>
                </c:pt>
                <c:pt idx="257">
                  <c:v>6.193813265378</c:v>
                </c:pt>
                <c:pt idx="258">
                  <c:v>7.083814811371</c:v>
                </c:pt>
                <c:pt idx="259">
                  <c:v>17.373562783154998</c:v>
                </c:pt>
                <c:pt idx="260">
                  <c:v>25.112895920499</c:v>
                </c:pt>
                <c:pt idx="261">
                  <c:v>19.897707693628998</c:v>
                </c:pt>
                <c:pt idx="262">
                  <c:v>28.781316813770999</c:v>
                </c:pt>
                <c:pt idx="263">
                  <c:v>25.478651206529001</c:v>
                </c:pt>
                <c:pt idx="264">
                  <c:v>19.962211070205999</c:v>
                </c:pt>
                <c:pt idx="265">
                  <c:v>12.085715613813999</c:v>
                </c:pt>
                <c:pt idx="266">
                  <c:v>49.712045322377001</c:v>
                </c:pt>
                <c:pt idx="267">
                  <c:v>45.453254168915002</c:v>
                </c:pt>
                <c:pt idx="268">
                  <c:v>38.437699695860999</c:v>
                </c:pt>
                <c:pt idx="269">
                  <c:v>24.066809463068999</c:v>
                </c:pt>
                <c:pt idx="270">
                  <c:v>50.570375485036998</c:v>
                </c:pt>
                <c:pt idx="271">
                  <c:v>33.120646826749002</c:v>
                </c:pt>
                <c:pt idx="272">
                  <c:v>28.294339180830001</c:v>
                </c:pt>
                <c:pt idx="273">
                  <c:v>85.580645002631002</c:v>
                </c:pt>
                <c:pt idx="274">
                  <c:v>70.015840463196</c:v>
                </c:pt>
                <c:pt idx="275">
                  <c:v>66.799260687881002</c:v>
                </c:pt>
                <c:pt idx="276">
                  <c:v>70.848603161171994</c:v>
                </c:pt>
                <c:pt idx="277">
                  <c:v>85.737445959428001</c:v>
                </c:pt>
                <c:pt idx="278">
                  <c:v>47.940636985159003</c:v>
                </c:pt>
                <c:pt idx="279">
                  <c:v>29.227862503783001</c:v>
                </c:pt>
                <c:pt idx="280">
                  <c:v>94.783735111054</c:v>
                </c:pt>
                <c:pt idx="281">
                  <c:v>102.090733139077</c:v>
                </c:pt>
                <c:pt idx="282">
                  <c:v>107.038738341383</c:v>
                </c:pt>
                <c:pt idx="283">
                  <c:v>75.067315799493997</c:v>
                </c:pt>
                <c:pt idx="284">
                  <c:v>103.087069777753</c:v>
                </c:pt>
                <c:pt idx="285">
                  <c:v>78.871361919573005</c:v>
                </c:pt>
                <c:pt idx="286">
                  <c:v>43.384189244058</c:v>
                </c:pt>
                <c:pt idx="287">
                  <c:v>106.584092043778</c:v>
                </c:pt>
                <c:pt idx="288">
                  <c:v>139.87445414847099</c:v>
                </c:pt>
                <c:pt idx="289">
                  <c:v>91.163416121110004</c:v>
                </c:pt>
                <c:pt idx="290">
                  <c:v>119.78185880713301</c:v>
                </c:pt>
                <c:pt idx="291">
                  <c:v>141.67291120269701</c:v>
                </c:pt>
                <c:pt idx="292">
                  <c:v>94.537383369641006</c:v>
                </c:pt>
                <c:pt idx="293">
                  <c:v>65.852525620747997</c:v>
                </c:pt>
                <c:pt idx="294">
                  <c:v>141.19350035298299</c:v>
                </c:pt>
                <c:pt idx="295">
                  <c:v>163.14192147595401</c:v>
                </c:pt>
                <c:pt idx="296">
                  <c:v>113.365625359951</c:v>
                </c:pt>
                <c:pt idx="297">
                  <c:v>160.72633580761899</c:v>
                </c:pt>
                <c:pt idx="298">
                  <c:v>129.67324847148399</c:v>
                </c:pt>
                <c:pt idx="299">
                  <c:v>87.997737201042995</c:v>
                </c:pt>
                <c:pt idx="300">
                  <c:v>71.857193283243006</c:v>
                </c:pt>
                <c:pt idx="301">
                  <c:v>149.02560183416099</c:v>
                </c:pt>
                <c:pt idx="302">
                  <c:v>118.49867333007001</c:v>
                </c:pt>
                <c:pt idx="303">
                  <c:v>123.067706773281</c:v>
                </c:pt>
                <c:pt idx="304">
                  <c:v>98.336204222516997</c:v>
                </c:pt>
                <c:pt idx="305">
                  <c:v>121.717844512215</c:v>
                </c:pt>
                <c:pt idx="306">
                  <c:v>71.271483261382997</c:v>
                </c:pt>
                <c:pt idx="307">
                  <c:v>51.712641019011002</c:v>
                </c:pt>
                <c:pt idx="308">
                  <c:v>139.58989451679801</c:v>
                </c:pt>
                <c:pt idx="309">
                  <c:v>119.68381206858101</c:v>
                </c:pt>
                <c:pt idx="310">
                  <c:v>98.010181777157001</c:v>
                </c:pt>
                <c:pt idx="311">
                  <c:v>90.056607010120004</c:v>
                </c:pt>
                <c:pt idx="312">
                  <c:v>84.744524480939006</c:v>
                </c:pt>
                <c:pt idx="313">
                  <c:v>65.326374973392006</c:v>
                </c:pt>
                <c:pt idx="314">
                  <c:v>55.946938745463001</c:v>
                </c:pt>
                <c:pt idx="315">
                  <c:v>79.540892939444007</c:v>
                </c:pt>
                <c:pt idx="316">
                  <c:v>103.658078569818</c:v>
                </c:pt>
                <c:pt idx="317">
                  <c:v>60.018993352326</c:v>
                </c:pt>
                <c:pt idx="318">
                  <c:v>56.208324991914999</c:v>
                </c:pt>
                <c:pt idx="319">
                  <c:v>61.944265842834</c:v>
                </c:pt>
                <c:pt idx="320">
                  <c:v>45.643414756988001</c:v>
                </c:pt>
                <c:pt idx="321">
                  <c:v>31.563663910106001</c:v>
                </c:pt>
                <c:pt idx="322">
                  <c:v>79.709856123709002</c:v>
                </c:pt>
                <c:pt idx="323">
                  <c:v>74.878624165665997</c:v>
                </c:pt>
                <c:pt idx="324">
                  <c:v>39.802773197298997</c:v>
                </c:pt>
                <c:pt idx="325">
                  <c:v>61.962920084139</c:v>
                </c:pt>
                <c:pt idx="326">
                  <c:v>20.386362339049001</c:v>
                </c:pt>
                <c:pt idx="327">
                  <c:v>13.864761485322999</c:v>
                </c:pt>
                <c:pt idx="328">
                  <c:v>18.763715868392001</c:v>
                </c:pt>
                <c:pt idx="329">
                  <c:v>69.880052944415993</c:v>
                </c:pt>
                <c:pt idx="330">
                  <c:v>77.106755546711</c:v>
                </c:pt>
                <c:pt idx="331">
                  <c:v>33.471402870172</c:v>
                </c:pt>
                <c:pt idx="332">
                  <c:v>61.561295654447001</c:v>
                </c:pt>
                <c:pt idx="333">
                  <c:v>46.467223710112002</c:v>
                </c:pt>
                <c:pt idx="334">
                  <c:v>14.373039559677</c:v>
                </c:pt>
                <c:pt idx="335">
                  <c:v>29.653226694680999</c:v>
                </c:pt>
                <c:pt idx="336">
                  <c:v>90.632374568212995</c:v>
                </c:pt>
                <c:pt idx="337">
                  <c:v>76.098235904530995</c:v>
                </c:pt>
                <c:pt idx="338">
                  <c:v>54.252712635630999</c:v>
                </c:pt>
                <c:pt idx="339">
                  <c:v>48.801263509077003</c:v>
                </c:pt>
                <c:pt idx="340">
                  <c:v>54.492943163859998</c:v>
                </c:pt>
                <c:pt idx="341">
                  <c:v>33.753272699074998</c:v>
                </c:pt>
                <c:pt idx="342">
                  <c:v>21.037804019134999</c:v>
                </c:pt>
                <c:pt idx="343">
                  <c:v>54.484338061465003</c:v>
                </c:pt>
                <c:pt idx="344">
                  <c:v>93.310565555337007</c:v>
                </c:pt>
                <c:pt idx="345">
                  <c:v>113.312307605144</c:v>
                </c:pt>
                <c:pt idx="346">
                  <c:v>84.994222302864998</c:v>
                </c:pt>
                <c:pt idx="347">
                  <c:v>85.397096498718994</c:v>
                </c:pt>
                <c:pt idx="348">
                  <c:v>81.825886203571002</c:v>
                </c:pt>
                <c:pt idx="349">
                  <c:v>57.604811466286002</c:v>
                </c:pt>
                <c:pt idx="350">
                  <c:v>192.72748726621899</c:v>
                </c:pt>
                <c:pt idx="351">
                  <c:v>216.93478088596501</c:v>
                </c:pt>
                <c:pt idx="352">
                  <c:v>243.590767510582</c:v>
                </c:pt>
                <c:pt idx="353">
                  <c:v>244.49877750611199</c:v>
                </c:pt>
                <c:pt idx="354">
                  <c:v>202.19673030614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A0B-4754-90A8-6FC4E50C7F8C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Ukončené očkování - s posilující dávkou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70AD47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56</c:f>
              <c:numCache>
                <c:formatCode>m/d/yyyy</c:formatCode>
                <c:ptCount val="355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</c:numCache>
            </c:numRef>
          </c:cat>
          <c:val>
            <c:numRef>
              <c:f>List1!$D$2:$D$356</c:f>
              <c:numCache>
                <c:formatCode>General</c:formatCode>
                <c:ptCount val="355"/>
                <c:pt idx="226">
                  <c:v>0</c:v>
                </c:pt>
                <c:pt idx="228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13.867702121758001</c:v>
                </c:pt>
                <c:pt idx="247">
                  <c:v>11.59420289855</c:v>
                </c:pt>
                <c:pt idx="248">
                  <c:v>0</c:v>
                </c:pt>
                <c:pt idx="249">
                  <c:v>0</c:v>
                </c:pt>
                <c:pt idx="250">
                  <c:v>7.9522862823059999</c:v>
                </c:pt>
                <c:pt idx="251">
                  <c:v>0</c:v>
                </c:pt>
                <c:pt idx="252">
                  <c:v>0</c:v>
                </c:pt>
                <c:pt idx="253">
                  <c:v>6.5741897311150002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4.8079234578580001</c:v>
                </c:pt>
                <c:pt idx="258">
                  <c:v>0</c:v>
                </c:pt>
                <c:pt idx="259">
                  <c:v>4.4758750335690003</c:v>
                </c:pt>
                <c:pt idx="260">
                  <c:v>8.3952482894680003</c:v>
                </c:pt>
                <c:pt idx="261">
                  <c:v>11.682242990654</c:v>
                </c:pt>
                <c:pt idx="262">
                  <c:v>0</c:v>
                </c:pt>
                <c:pt idx="263">
                  <c:v>6.4651689025370001</c:v>
                </c:pt>
                <c:pt idx="264">
                  <c:v>6.3714558776679997</c:v>
                </c:pt>
                <c:pt idx="265">
                  <c:v>0</c:v>
                </c:pt>
                <c:pt idx="266">
                  <c:v>17.87895944456</c:v>
                </c:pt>
                <c:pt idx="267">
                  <c:v>11.243534967393</c:v>
                </c:pt>
                <c:pt idx="268">
                  <c:v>15.524736079486001</c:v>
                </c:pt>
                <c:pt idx="269">
                  <c:v>10.251941461414001</c:v>
                </c:pt>
                <c:pt idx="270">
                  <c:v>26.755527448738</c:v>
                </c:pt>
                <c:pt idx="271">
                  <c:v>14.474573000095999</c:v>
                </c:pt>
                <c:pt idx="272">
                  <c:v>9.5762508977730008</c:v>
                </c:pt>
                <c:pt idx="273">
                  <c:v>29.931158335827</c:v>
                </c:pt>
                <c:pt idx="274">
                  <c:v>15.43243898675</c:v>
                </c:pt>
                <c:pt idx="275">
                  <c:v>18.895653999579999</c:v>
                </c:pt>
                <c:pt idx="276">
                  <c:v>13.852334118298</c:v>
                </c:pt>
                <c:pt idx="277">
                  <c:v>29.482218536944</c:v>
                </c:pt>
                <c:pt idx="278">
                  <c:v>21.895412910994999</c:v>
                </c:pt>
                <c:pt idx="279">
                  <c:v>7.2590011614399996</c:v>
                </c:pt>
                <c:pt idx="280">
                  <c:v>29.935901951116001</c:v>
                </c:pt>
                <c:pt idx="281">
                  <c:v>47.766897540004003</c:v>
                </c:pt>
                <c:pt idx="282">
                  <c:v>27.977091699032002</c:v>
                </c:pt>
                <c:pt idx="283">
                  <c:v>30.237924723481999</c:v>
                </c:pt>
                <c:pt idx="284">
                  <c:v>46.805169706485998</c:v>
                </c:pt>
                <c:pt idx="285">
                  <c:v>18.014231242680999</c:v>
                </c:pt>
                <c:pt idx="286">
                  <c:v>11.96583753384</c:v>
                </c:pt>
                <c:pt idx="287">
                  <c:v>54.113345521023</c:v>
                </c:pt>
                <c:pt idx="288">
                  <c:v>57.943978066084</c:v>
                </c:pt>
                <c:pt idx="289">
                  <c:v>26.718040302054</c:v>
                </c:pt>
                <c:pt idx="290">
                  <c:v>30.151442472418001</c:v>
                </c:pt>
                <c:pt idx="291">
                  <c:v>59.374587676474</c:v>
                </c:pt>
                <c:pt idx="292">
                  <c:v>20.971230093715</c:v>
                </c:pt>
                <c:pt idx="293">
                  <c:v>19.604511651614001</c:v>
                </c:pt>
                <c:pt idx="294">
                  <c:v>44.860867224650001</c:v>
                </c:pt>
                <c:pt idx="295">
                  <c:v>56.357078449052999</c:v>
                </c:pt>
                <c:pt idx="296">
                  <c:v>31.857669733988001</c:v>
                </c:pt>
                <c:pt idx="297">
                  <c:v>55.058170153684003</c:v>
                </c:pt>
                <c:pt idx="298">
                  <c:v>40.267838652522997</c:v>
                </c:pt>
                <c:pt idx="299">
                  <c:v>28.588745182796</c:v>
                </c:pt>
                <c:pt idx="300">
                  <c:v>26.170266026442999</c:v>
                </c:pt>
                <c:pt idx="301">
                  <c:v>50.275959153575997</c:v>
                </c:pt>
                <c:pt idx="302">
                  <c:v>40.551500405515</c:v>
                </c:pt>
                <c:pt idx="303">
                  <c:v>49.504950495049002</c:v>
                </c:pt>
                <c:pt idx="304">
                  <c:v>43.177438208872999</c:v>
                </c:pt>
                <c:pt idx="305">
                  <c:v>45.648667566114</c:v>
                </c:pt>
                <c:pt idx="306">
                  <c:v>22.194870967090999</c:v>
                </c:pt>
                <c:pt idx="307">
                  <c:v>24.129333226090999</c:v>
                </c:pt>
                <c:pt idx="308">
                  <c:v>51.491266289064001</c:v>
                </c:pt>
                <c:pt idx="309">
                  <c:v>41.875231287614</c:v>
                </c:pt>
                <c:pt idx="310">
                  <c:v>30.604437643457999</c:v>
                </c:pt>
                <c:pt idx="311">
                  <c:v>37.574914986754003</c:v>
                </c:pt>
                <c:pt idx="312">
                  <c:v>26.491760149084001</c:v>
                </c:pt>
                <c:pt idx="313">
                  <c:v>15.441209864208</c:v>
                </c:pt>
                <c:pt idx="314">
                  <c:v>9.0518216791120008</c:v>
                </c:pt>
                <c:pt idx="315">
                  <c:v>39.363034532115996</c:v>
                </c:pt>
                <c:pt idx="316">
                  <c:v>38.000636289722998</c:v>
                </c:pt>
                <c:pt idx="317">
                  <c:v>34.890313576693003</c:v>
                </c:pt>
                <c:pt idx="318">
                  <c:v>15.46644211684</c:v>
                </c:pt>
                <c:pt idx="319">
                  <c:v>32.012130912765997</c:v>
                </c:pt>
                <c:pt idx="320">
                  <c:v>15.946152361289</c:v>
                </c:pt>
                <c:pt idx="321">
                  <c:v>14.228441818226999</c:v>
                </c:pt>
                <c:pt idx="322">
                  <c:v>26.504108136761001</c:v>
                </c:pt>
                <c:pt idx="323">
                  <c:v>29.514486693885001</c:v>
                </c:pt>
                <c:pt idx="324">
                  <c:v>17.878620420634999</c:v>
                </c:pt>
                <c:pt idx="325">
                  <c:v>19.434929426911999</c:v>
                </c:pt>
                <c:pt idx="326">
                  <c:v>5.668199779749</c:v>
                </c:pt>
                <c:pt idx="327">
                  <c:v>4.8583782733319998</c:v>
                </c:pt>
                <c:pt idx="328">
                  <c:v>7.2863874091219998</c:v>
                </c:pt>
                <c:pt idx="329">
                  <c:v>28.125552466209001</c:v>
                </c:pt>
                <c:pt idx="330">
                  <c:v>29.493587137607001</c:v>
                </c:pt>
                <c:pt idx="331">
                  <c:v>27.658801030486998</c:v>
                </c:pt>
                <c:pt idx="332">
                  <c:v>15.692428403295001</c:v>
                </c:pt>
                <c:pt idx="333">
                  <c:v>25.067957666485999</c:v>
                </c:pt>
                <c:pt idx="334">
                  <c:v>5.483315055616</c:v>
                </c:pt>
                <c:pt idx="335">
                  <c:v>25.815940169602001</c:v>
                </c:pt>
                <c:pt idx="336">
                  <c:v>60.547724026578003</c:v>
                </c:pt>
                <c:pt idx="337">
                  <c:v>50.745029293720997</c:v>
                </c:pt>
                <c:pt idx="338">
                  <c:v>37.306898730804001</c:v>
                </c:pt>
                <c:pt idx="339">
                  <c:v>39.143951883048999</c:v>
                </c:pt>
                <c:pt idx="340">
                  <c:v>45.064678895693</c:v>
                </c:pt>
                <c:pt idx="341">
                  <c:v>23.569445160530002</c:v>
                </c:pt>
                <c:pt idx="342">
                  <c:v>27.209283513380001</c:v>
                </c:pt>
                <c:pt idx="343">
                  <c:v>62.069620206947</c:v>
                </c:pt>
                <c:pt idx="344">
                  <c:v>75.371057513913996</c:v>
                </c:pt>
                <c:pt idx="345">
                  <c:v>91.972523208691001</c:v>
                </c:pt>
                <c:pt idx="346">
                  <c:v>64.156027458778993</c:v>
                </c:pt>
                <c:pt idx="347">
                  <c:v>79.650384154506995</c:v>
                </c:pt>
                <c:pt idx="348">
                  <c:v>53.452617068263997</c:v>
                </c:pt>
                <c:pt idx="349">
                  <c:v>58.311495795249002</c:v>
                </c:pt>
                <c:pt idx="350">
                  <c:v>189.53169585408099</c:v>
                </c:pt>
                <c:pt idx="351">
                  <c:v>182.385208698799</c:v>
                </c:pt>
                <c:pt idx="352">
                  <c:v>223.74928995968301</c:v>
                </c:pt>
                <c:pt idx="353">
                  <c:v>205.432234937267</c:v>
                </c:pt>
                <c:pt idx="354">
                  <c:v>229.530661185337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A0B-4754-90A8-6FC4E50C7F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99CC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rgbClr val="00206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184</c:f>
              <c:numCache>
                <c:formatCode>m/d/yyyy</c:formatCode>
                <c:ptCount val="183"/>
                <c:pt idx="0">
                  <c:v>44400</c:v>
                </c:pt>
                <c:pt idx="1">
                  <c:v>44401</c:v>
                </c:pt>
                <c:pt idx="2">
                  <c:v>44402</c:v>
                </c:pt>
                <c:pt idx="3">
                  <c:v>44403</c:v>
                </c:pt>
                <c:pt idx="4">
                  <c:v>44404</c:v>
                </c:pt>
                <c:pt idx="5">
                  <c:v>44405</c:v>
                </c:pt>
                <c:pt idx="6">
                  <c:v>44406</c:v>
                </c:pt>
                <c:pt idx="7">
                  <c:v>44407</c:v>
                </c:pt>
                <c:pt idx="8">
                  <c:v>44408</c:v>
                </c:pt>
                <c:pt idx="9">
                  <c:v>44409</c:v>
                </c:pt>
                <c:pt idx="10">
                  <c:v>44410</c:v>
                </c:pt>
                <c:pt idx="11">
                  <c:v>44411</c:v>
                </c:pt>
                <c:pt idx="12">
                  <c:v>44412</c:v>
                </c:pt>
                <c:pt idx="13">
                  <c:v>44413</c:v>
                </c:pt>
                <c:pt idx="14">
                  <c:v>44414</c:v>
                </c:pt>
                <c:pt idx="15">
                  <c:v>44415</c:v>
                </c:pt>
                <c:pt idx="16">
                  <c:v>44416</c:v>
                </c:pt>
                <c:pt idx="17">
                  <c:v>44417</c:v>
                </c:pt>
                <c:pt idx="18">
                  <c:v>44418</c:v>
                </c:pt>
                <c:pt idx="19">
                  <c:v>44419</c:v>
                </c:pt>
                <c:pt idx="20">
                  <c:v>44420</c:v>
                </c:pt>
                <c:pt idx="21">
                  <c:v>44421</c:v>
                </c:pt>
                <c:pt idx="22">
                  <c:v>44422</c:v>
                </c:pt>
                <c:pt idx="23">
                  <c:v>44423</c:v>
                </c:pt>
                <c:pt idx="24">
                  <c:v>44424</c:v>
                </c:pt>
                <c:pt idx="25">
                  <c:v>44425</c:v>
                </c:pt>
                <c:pt idx="26">
                  <c:v>44426</c:v>
                </c:pt>
                <c:pt idx="27">
                  <c:v>44427</c:v>
                </c:pt>
                <c:pt idx="28">
                  <c:v>44428</c:v>
                </c:pt>
                <c:pt idx="29">
                  <c:v>44429</c:v>
                </c:pt>
                <c:pt idx="30">
                  <c:v>44430</c:v>
                </c:pt>
                <c:pt idx="31">
                  <c:v>44431</c:v>
                </c:pt>
                <c:pt idx="32">
                  <c:v>44432</c:v>
                </c:pt>
                <c:pt idx="33">
                  <c:v>44433</c:v>
                </c:pt>
                <c:pt idx="34">
                  <c:v>44434</c:v>
                </c:pt>
                <c:pt idx="35">
                  <c:v>44435</c:v>
                </c:pt>
                <c:pt idx="36">
                  <c:v>44436</c:v>
                </c:pt>
                <c:pt idx="37">
                  <c:v>44437</c:v>
                </c:pt>
                <c:pt idx="38">
                  <c:v>44438</c:v>
                </c:pt>
                <c:pt idx="39">
                  <c:v>44439</c:v>
                </c:pt>
                <c:pt idx="40">
                  <c:v>44440</c:v>
                </c:pt>
                <c:pt idx="41">
                  <c:v>44441</c:v>
                </c:pt>
                <c:pt idx="42">
                  <c:v>44442</c:v>
                </c:pt>
                <c:pt idx="43">
                  <c:v>44443</c:v>
                </c:pt>
                <c:pt idx="44">
                  <c:v>44444</c:v>
                </c:pt>
                <c:pt idx="45">
                  <c:v>44445</c:v>
                </c:pt>
                <c:pt idx="46">
                  <c:v>44446</c:v>
                </c:pt>
                <c:pt idx="47">
                  <c:v>44447</c:v>
                </c:pt>
                <c:pt idx="48">
                  <c:v>44448</c:v>
                </c:pt>
                <c:pt idx="49">
                  <c:v>44449</c:v>
                </c:pt>
                <c:pt idx="50">
                  <c:v>44450</c:v>
                </c:pt>
                <c:pt idx="51">
                  <c:v>44451</c:v>
                </c:pt>
                <c:pt idx="52">
                  <c:v>44452</c:v>
                </c:pt>
                <c:pt idx="53">
                  <c:v>44453</c:v>
                </c:pt>
                <c:pt idx="54">
                  <c:v>44454</c:v>
                </c:pt>
                <c:pt idx="55">
                  <c:v>44455</c:v>
                </c:pt>
                <c:pt idx="56">
                  <c:v>44456</c:v>
                </c:pt>
                <c:pt idx="57">
                  <c:v>44457</c:v>
                </c:pt>
                <c:pt idx="58">
                  <c:v>44458</c:v>
                </c:pt>
                <c:pt idx="59">
                  <c:v>44459</c:v>
                </c:pt>
                <c:pt idx="60">
                  <c:v>44460</c:v>
                </c:pt>
                <c:pt idx="61">
                  <c:v>44461</c:v>
                </c:pt>
                <c:pt idx="62">
                  <c:v>44462</c:v>
                </c:pt>
                <c:pt idx="63">
                  <c:v>44463</c:v>
                </c:pt>
                <c:pt idx="64">
                  <c:v>44464</c:v>
                </c:pt>
                <c:pt idx="65">
                  <c:v>44465</c:v>
                </c:pt>
                <c:pt idx="66">
                  <c:v>44466</c:v>
                </c:pt>
                <c:pt idx="67">
                  <c:v>44467</c:v>
                </c:pt>
                <c:pt idx="68">
                  <c:v>44468</c:v>
                </c:pt>
                <c:pt idx="69">
                  <c:v>44469</c:v>
                </c:pt>
                <c:pt idx="70">
                  <c:v>44470</c:v>
                </c:pt>
                <c:pt idx="71">
                  <c:v>44471</c:v>
                </c:pt>
                <c:pt idx="72">
                  <c:v>44472</c:v>
                </c:pt>
                <c:pt idx="73">
                  <c:v>44473</c:v>
                </c:pt>
                <c:pt idx="74">
                  <c:v>44474</c:v>
                </c:pt>
                <c:pt idx="75">
                  <c:v>44475</c:v>
                </c:pt>
                <c:pt idx="76">
                  <c:v>44476</c:v>
                </c:pt>
                <c:pt idx="77">
                  <c:v>44477</c:v>
                </c:pt>
                <c:pt idx="78">
                  <c:v>44478</c:v>
                </c:pt>
                <c:pt idx="79">
                  <c:v>44479</c:v>
                </c:pt>
                <c:pt idx="80">
                  <c:v>44480</c:v>
                </c:pt>
                <c:pt idx="81">
                  <c:v>44481</c:v>
                </c:pt>
                <c:pt idx="82">
                  <c:v>44482</c:v>
                </c:pt>
                <c:pt idx="83">
                  <c:v>44483</c:v>
                </c:pt>
                <c:pt idx="84">
                  <c:v>44484</c:v>
                </c:pt>
                <c:pt idx="85">
                  <c:v>44485</c:v>
                </c:pt>
                <c:pt idx="86">
                  <c:v>44486</c:v>
                </c:pt>
                <c:pt idx="87">
                  <c:v>44487</c:v>
                </c:pt>
                <c:pt idx="88">
                  <c:v>44488</c:v>
                </c:pt>
                <c:pt idx="89">
                  <c:v>44489</c:v>
                </c:pt>
                <c:pt idx="90">
                  <c:v>44490</c:v>
                </c:pt>
                <c:pt idx="91">
                  <c:v>44491</c:v>
                </c:pt>
                <c:pt idx="92">
                  <c:v>44492</c:v>
                </c:pt>
                <c:pt idx="93">
                  <c:v>44493</c:v>
                </c:pt>
                <c:pt idx="94">
                  <c:v>44494</c:v>
                </c:pt>
                <c:pt idx="95">
                  <c:v>44495</c:v>
                </c:pt>
                <c:pt idx="96">
                  <c:v>44496</c:v>
                </c:pt>
                <c:pt idx="97">
                  <c:v>44497</c:v>
                </c:pt>
                <c:pt idx="98">
                  <c:v>44498</c:v>
                </c:pt>
                <c:pt idx="99">
                  <c:v>44499</c:v>
                </c:pt>
                <c:pt idx="100">
                  <c:v>44500</c:v>
                </c:pt>
                <c:pt idx="101">
                  <c:v>44501</c:v>
                </c:pt>
                <c:pt idx="102">
                  <c:v>44502</c:v>
                </c:pt>
                <c:pt idx="103">
                  <c:v>44503</c:v>
                </c:pt>
                <c:pt idx="104">
                  <c:v>44504</c:v>
                </c:pt>
                <c:pt idx="105">
                  <c:v>44505</c:v>
                </c:pt>
                <c:pt idx="106">
                  <c:v>44506</c:v>
                </c:pt>
                <c:pt idx="107">
                  <c:v>44507</c:v>
                </c:pt>
                <c:pt idx="108">
                  <c:v>44508</c:v>
                </c:pt>
                <c:pt idx="109">
                  <c:v>44509</c:v>
                </c:pt>
                <c:pt idx="110">
                  <c:v>44510</c:v>
                </c:pt>
                <c:pt idx="111">
                  <c:v>44511</c:v>
                </c:pt>
                <c:pt idx="112">
                  <c:v>44512</c:v>
                </c:pt>
                <c:pt idx="113">
                  <c:v>44513</c:v>
                </c:pt>
                <c:pt idx="114">
                  <c:v>44514</c:v>
                </c:pt>
                <c:pt idx="115">
                  <c:v>44515</c:v>
                </c:pt>
                <c:pt idx="116">
                  <c:v>44516</c:v>
                </c:pt>
                <c:pt idx="117">
                  <c:v>44517</c:v>
                </c:pt>
                <c:pt idx="118">
                  <c:v>44518</c:v>
                </c:pt>
                <c:pt idx="119">
                  <c:v>44519</c:v>
                </c:pt>
                <c:pt idx="120">
                  <c:v>44520</c:v>
                </c:pt>
                <c:pt idx="121">
                  <c:v>44521</c:v>
                </c:pt>
                <c:pt idx="122">
                  <c:v>44522</c:v>
                </c:pt>
                <c:pt idx="123">
                  <c:v>44523</c:v>
                </c:pt>
                <c:pt idx="124">
                  <c:v>44524</c:v>
                </c:pt>
                <c:pt idx="125">
                  <c:v>44525</c:v>
                </c:pt>
                <c:pt idx="126">
                  <c:v>44526</c:v>
                </c:pt>
                <c:pt idx="127">
                  <c:v>44527</c:v>
                </c:pt>
                <c:pt idx="128">
                  <c:v>44528</c:v>
                </c:pt>
                <c:pt idx="129">
                  <c:v>44529</c:v>
                </c:pt>
                <c:pt idx="130">
                  <c:v>44530</c:v>
                </c:pt>
                <c:pt idx="131">
                  <c:v>44531</c:v>
                </c:pt>
                <c:pt idx="132">
                  <c:v>44532</c:v>
                </c:pt>
                <c:pt idx="133">
                  <c:v>44533</c:v>
                </c:pt>
                <c:pt idx="134">
                  <c:v>44534</c:v>
                </c:pt>
                <c:pt idx="135">
                  <c:v>44535</c:v>
                </c:pt>
                <c:pt idx="136">
                  <c:v>44536</c:v>
                </c:pt>
                <c:pt idx="137">
                  <c:v>44537</c:v>
                </c:pt>
                <c:pt idx="138">
                  <c:v>44538</c:v>
                </c:pt>
                <c:pt idx="139">
                  <c:v>44539</c:v>
                </c:pt>
                <c:pt idx="140">
                  <c:v>44540</c:v>
                </c:pt>
                <c:pt idx="141">
                  <c:v>44541</c:v>
                </c:pt>
                <c:pt idx="142">
                  <c:v>44542</c:v>
                </c:pt>
                <c:pt idx="143">
                  <c:v>44543</c:v>
                </c:pt>
                <c:pt idx="144">
                  <c:v>44544</c:v>
                </c:pt>
                <c:pt idx="145">
                  <c:v>44545</c:v>
                </c:pt>
                <c:pt idx="146">
                  <c:v>44546</c:v>
                </c:pt>
                <c:pt idx="147">
                  <c:v>44547</c:v>
                </c:pt>
                <c:pt idx="148">
                  <c:v>44548</c:v>
                </c:pt>
                <c:pt idx="149">
                  <c:v>44549</c:v>
                </c:pt>
                <c:pt idx="150">
                  <c:v>44550</c:v>
                </c:pt>
                <c:pt idx="151">
                  <c:v>44551</c:v>
                </c:pt>
                <c:pt idx="152">
                  <c:v>44552</c:v>
                </c:pt>
                <c:pt idx="153">
                  <c:v>44553</c:v>
                </c:pt>
                <c:pt idx="154">
                  <c:v>44554</c:v>
                </c:pt>
                <c:pt idx="155">
                  <c:v>44555</c:v>
                </c:pt>
                <c:pt idx="156">
                  <c:v>44556</c:v>
                </c:pt>
                <c:pt idx="157">
                  <c:v>44557</c:v>
                </c:pt>
                <c:pt idx="158">
                  <c:v>44558</c:v>
                </c:pt>
                <c:pt idx="159">
                  <c:v>44559</c:v>
                </c:pt>
                <c:pt idx="160">
                  <c:v>44560</c:v>
                </c:pt>
                <c:pt idx="161">
                  <c:v>44561</c:v>
                </c:pt>
                <c:pt idx="162">
                  <c:v>44562</c:v>
                </c:pt>
                <c:pt idx="163">
                  <c:v>44563</c:v>
                </c:pt>
                <c:pt idx="164">
                  <c:v>44564</c:v>
                </c:pt>
                <c:pt idx="165">
                  <c:v>44565</c:v>
                </c:pt>
                <c:pt idx="166">
                  <c:v>44566</c:v>
                </c:pt>
                <c:pt idx="167">
                  <c:v>44567</c:v>
                </c:pt>
                <c:pt idx="168">
                  <c:v>44568</c:v>
                </c:pt>
                <c:pt idx="169">
                  <c:v>44569</c:v>
                </c:pt>
                <c:pt idx="170">
                  <c:v>44570</c:v>
                </c:pt>
                <c:pt idx="171">
                  <c:v>44571</c:v>
                </c:pt>
                <c:pt idx="172">
                  <c:v>44572</c:v>
                </c:pt>
                <c:pt idx="173">
                  <c:v>44573</c:v>
                </c:pt>
                <c:pt idx="174">
                  <c:v>44574</c:v>
                </c:pt>
                <c:pt idx="175">
                  <c:v>44575</c:v>
                </c:pt>
                <c:pt idx="176">
                  <c:v>44576</c:v>
                </c:pt>
                <c:pt idx="177">
                  <c:v>44577</c:v>
                </c:pt>
                <c:pt idx="178">
                  <c:v>44578</c:v>
                </c:pt>
                <c:pt idx="179">
                  <c:v>44579</c:v>
                </c:pt>
                <c:pt idx="180">
                  <c:v>44580</c:v>
                </c:pt>
                <c:pt idx="181">
                  <c:v>44581</c:v>
                </c:pt>
                <c:pt idx="182">
                  <c:v>44582</c:v>
                </c:pt>
              </c:numCache>
            </c:numRef>
          </c:cat>
          <c:val>
            <c:numRef>
              <c:f>Sheet1!$B$2:$B$184</c:f>
              <c:numCache>
                <c:formatCode>#\ ##0_ ;\-#\ ##0\ 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1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3</c:v>
                </c:pt>
                <c:pt idx="41">
                  <c:v>1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  <c:pt idx="45">
                  <c:v>1</c:v>
                </c:pt>
                <c:pt idx="46">
                  <c:v>2</c:v>
                </c:pt>
                <c:pt idx="47">
                  <c:v>1</c:v>
                </c:pt>
                <c:pt idx="48">
                  <c:v>1</c:v>
                </c:pt>
                <c:pt idx="49">
                  <c:v>0</c:v>
                </c:pt>
                <c:pt idx="50">
                  <c:v>0</c:v>
                </c:pt>
                <c:pt idx="51">
                  <c:v>1</c:v>
                </c:pt>
                <c:pt idx="52">
                  <c:v>0</c:v>
                </c:pt>
                <c:pt idx="53">
                  <c:v>1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1</c:v>
                </c:pt>
                <c:pt idx="58">
                  <c:v>0</c:v>
                </c:pt>
                <c:pt idx="59">
                  <c:v>4</c:v>
                </c:pt>
                <c:pt idx="60">
                  <c:v>4</c:v>
                </c:pt>
                <c:pt idx="61">
                  <c:v>2</c:v>
                </c:pt>
                <c:pt idx="62">
                  <c:v>0</c:v>
                </c:pt>
                <c:pt idx="63">
                  <c:v>0</c:v>
                </c:pt>
                <c:pt idx="64">
                  <c:v>1</c:v>
                </c:pt>
                <c:pt idx="65">
                  <c:v>1</c:v>
                </c:pt>
                <c:pt idx="66">
                  <c:v>5</c:v>
                </c:pt>
                <c:pt idx="67">
                  <c:v>2</c:v>
                </c:pt>
                <c:pt idx="68">
                  <c:v>7</c:v>
                </c:pt>
                <c:pt idx="69">
                  <c:v>3</c:v>
                </c:pt>
                <c:pt idx="70">
                  <c:v>2</c:v>
                </c:pt>
                <c:pt idx="71">
                  <c:v>0</c:v>
                </c:pt>
                <c:pt idx="72">
                  <c:v>0</c:v>
                </c:pt>
                <c:pt idx="73">
                  <c:v>3</c:v>
                </c:pt>
                <c:pt idx="74">
                  <c:v>5</c:v>
                </c:pt>
                <c:pt idx="75">
                  <c:v>2</c:v>
                </c:pt>
                <c:pt idx="76">
                  <c:v>1</c:v>
                </c:pt>
                <c:pt idx="77">
                  <c:v>2</c:v>
                </c:pt>
                <c:pt idx="78">
                  <c:v>1</c:v>
                </c:pt>
                <c:pt idx="79">
                  <c:v>0</c:v>
                </c:pt>
                <c:pt idx="80">
                  <c:v>2</c:v>
                </c:pt>
                <c:pt idx="81">
                  <c:v>3</c:v>
                </c:pt>
                <c:pt idx="82">
                  <c:v>1</c:v>
                </c:pt>
                <c:pt idx="83">
                  <c:v>3</c:v>
                </c:pt>
                <c:pt idx="84">
                  <c:v>6</c:v>
                </c:pt>
                <c:pt idx="85">
                  <c:v>2</c:v>
                </c:pt>
                <c:pt idx="86">
                  <c:v>1</c:v>
                </c:pt>
                <c:pt idx="87">
                  <c:v>12</c:v>
                </c:pt>
                <c:pt idx="88">
                  <c:v>8</c:v>
                </c:pt>
                <c:pt idx="89">
                  <c:v>10</c:v>
                </c:pt>
                <c:pt idx="90">
                  <c:v>7</c:v>
                </c:pt>
                <c:pt idx="91">
                  <c:v>10</c:v>
                </c:pt>
                <c:pt idx="92">
                  <c:v>0</c:v>
                </c:pt>
                <c:pt idx="93">
                  <c:v>3</c:v>
                </c:pt>
                <c:pt idx="94">
                  <c:v>19</c:v>
                </c:pt>
                <c:pt idx="95">
                  <c:v>5</c:v>
                </c:pt>
                <c:pt idx="96">
                  <c:v>17</c:v>
                </c:pt>
                <c:pt idx="97">
                  <c:v>3</c:v>
                </c:pt>
                <c:pt idx="98">
                  <c:v>8</c:v>
                </c:pt>
                <c:pt idx="99">
                  <c:v>5</c:v>
                </c:pt>
                <c:pt idx="100">
                  <c:v>4</c:v>
                </c:pt>
                <c:pt idx="101">
                  <c:v>41</c:v>
                </c:pt>
                <c:pt idx="102">
                  <c:v>25</c:v>
                </c:pt>
                <c:pt idx="103">
                  <c:v>19</c:v>
                </c:pt>
                <c:pt idx="104">
                  <c:v>24</c:v>
                </c:pt>
                <c:pt idx="105">
                  <c:v>27</c:v>
                </c:pt>
                <c:pt idx="106">
                  <c:v>13</c:v>
                </c:pt>
                <c:pt idx="107">
                  <c:v>5</c:v>
                </c:pt>
                <c:pt idx="108">
                  <c:v>51</c:v>
                </c:pt>
                <c:pt idx="109">
                  <c:v>25</c:v>
                </c:pt>
                <c:pt idx="110">
                  <c:v>29</c:v>
                </c:pt>
                <c:pt idx="111">
                  <c:v>36</c:v>
                </c:pt>
                <c:pt idx="112">
                  <c:v>34</c:v>
                </c:pt>
                <c:pt idx="113">
                  <c:v>20</c:v>
                </c:pt>
                <c:pt idx="114">
                  <c:v>14</c:v>
                </c:pt>
                <c:pt idx="115">
                  <c:v>55</c:v>
                </c:pt>
                <c:pt idx="116">
                  <c:v>34</c:v>
                </c:pt>
                <c:pt idx="117">
                  <c:v>13</c:v>
                </c:pt>
                <c:pt idx="118">
                  <c:v>42</c:v>
                </c:pt>
                <c:pt idx="119">
                  <c:v>52</c:v>
                </c:pt>
                <c:pt idx="120">
                  <c:v>11</c:v>
                </c:pt>
                <c:pt idx="121">
                  <c:v>7</c:v>
                </c:pt>
                <c:pt idx="122">
                  <c:v>68</c:v>
                </c:pt>
                <c:pt idx="123">
                  <c:v>44</c:v>
                </c:pt>
                <c:pt idx="124">
                  <c:v>45</c:v>
                </c:pt>
                <c:pt idx="125">
                  <c:v>49</c:v>
                </c:pt>
                <c:pt idx="126">
                  <c:v>48</c:v>
                </c:pt>
                <c:pt idx="127">
                  <c:v>22</c:v>
                </c:pt>
                <c:pt idx="128">
                  <c:v>8</c:v>
                </c:pt>
                <c:pt idx="129">
                  <c:v>43</c:v>
                </c:pt>
                <c:pt idx="130">
                  <c:v>48</c:v>
                </c:pt>
                <c:pt idx="131">
                  <c:v>40</c:v>
                </c:pt>
                <c:pt idx="132">
                  <c:v>32</c:v>
                </c:pt>
                <c:pt idx="133">
                  <c:v>28</c:v>
                </c:pt>
                <c:pt idx="134">
                  <c:v>21</c:v>
                </c:pt>
                <c:pt idx="135">
                  <c:v>9</c:v>
                </c:pt>
                <c:pt idx="136">
                  <c:v>48</c:v>
                </c:pt>
                <c:pt idx="137">
                  <c:v>35</c:v>
                </c:pt>
                <c:pt idx="138">
                  <c:v>34</c:v>
                </c:pt>
                <c:pt idx="139">
                  <c:v>25</c:v>
                </c:pt>
                <c:pt idx="140">
                  <c:v>18</c:v>
                </c:pt>
                <c:pt idx="141">
                  <c:v>13</c:v>
                </c:pt>
                <c:pt idx="142">
                  <c:v>7</c:v>
                </c:pt>
                <c:pt idx="143">
                  <c:v>30</c:v>
                </c:pt>
                <c:pt idx="144">
                  <c:v>36</c:v>
                </c:pt>
                <c:pt idx="145">
                  <c:v>28</c:v>
                </c:pt>
                <c:pt idx="146">
                  <c:v>17</c:v>
                </c:pt>
                <c:pt idx="147">
                  <c:v>14</c:v>
                </c:pt>
                <c:pt idx="148">
                  <c:v>8</c:v>
                </c:pt>
                <c:pt idx="149">
                  <c:v>10</c:v>
                </c:pt>
                <c:pt idx="150">
                  <c:v>25</c:v>
                </c:pt>
                <c:pt idx="151">
                  <c:v>12</c:v>
                </c:pt>
                <c:pt idx="152">
                  <c:v>8</c:v>
                </c:pt>
                <c:pt idx="153">
                  <c:v>4</c:v>
                </c:pt>
                <c:pt idx="154">
                  <c:v>7</c:v>
                </c:pt>
                <c:pt idx="155">
                  <c:v>3</c:v>
                </c:pt>
                <c:pt idx="156">
                  <c:v>5</c:v>
                </c:pt>
                <c:pt idx="157">
                  <c:v>9</c:v>
                </c:pt>
                <c:pt idx="158">
                  <c:v>17</c:v>
                </c:pt>
                <c:pt idx="159">
                  <c:v>8</c:v>
                </c:pt>
                <c:pt idx="160" formatCode="General">
                  <c:v>9</c:v>
                </c:pt>
                <c:pt idx="161" formatCode="General">
                  <c:v>6</c:v>
                </c:pt>
                <c:pt idx="162" formatCode="General">
                  <c:v>0</c:v>
                </c:pt>
                <c:pt idx="163" formatCode="General">
                  <c:v>3</c:v>
                </c:pt>
                <c:pt idx="164" formatCode="General">
                  <c:v>17</c:v>
                </c:pt>
                <c:pt idx="165" formatCode="General">
                  <c:v>14</c:v>
                </c:pt>
                <c:pt idx="166" formatCode="General">
                  <c:v>6</c:v>
                </c:pt>
                <c:pt idx="167" formatCode="General">
                  <c:v>10</c:v>
                </c:pt>
                <c:pt idx="168" formatCode="General">
                  <c:v>7</c:v>
                </c:pt>
                <c:pt idx="169" formatCode="General">
                  <c:v>4</c:v>
                </c:pt>
                <c:pt idx="170" formatCode="General">
                  <c:v>3</c:v>
                </c:pt>
                <c:pt idx="171" formatCode="General">
                  <c:v>14</c:v>
                </c:pt>
                <c:pt idx="172" formatCode="General">
                  <c:v>13</c:v>
                </c:pt>
                <c:pt idx="173" formatCode="General">
                  <c:v>7</c:v>
                </c:pt>
                <c:pt idx="174" formatCode="General">
                  <c:v>19</c:v>
                </c:pt>
                <c:pt idx="175" formatCode="General">
                  <c:v>19</c:v>
                </c:pt>
                <c:pt idx="176" formatCode="General">
                  <c:v>8</c:v>
                </c:pt>
                <c:pt idx="177" formatCode="General">
                  <c:v>6</c:v>
                </c:pt>
                <c:pt idx="178" formatCode="General">
                  <c:v>32</c:v>
                </c:pt>
                <c:pt idx="179" formatCode="General">
                  <c:v>40</c:v>
                </c:pt>
                <c:pt idx="180" formatCode="General">
                  <c:v>42</c:v>
                </c:pt>
                <c:pt idx="181" formatCode="General">
                  <c:v>45</c:v>
                </c:pt>
                <c:pt idx="182" formatCode="General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2B-4678-9FFD-46841F3CB3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  <c:majorUnit val="7"/>
        <c:majorTimeUnit val="days"/>
      </c:dateAx>
      <c:valAx>
        <c:axId val="533925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29925759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8.01</c:v>
                </c:pt>
                <c:pt idx="5">
                  <c:v>29.01 - 04.02</c:v>
                </c:pt>
                <c:pt idx="6">
                  <c:v>05.02 - 11.02</c:v>
                </c:pt>
                <c:pt idx="7">
                  <c:v>12.02 - 18.02</c:v>
                </c:pt>
                <c:pt idx="8">
                  <c:v>19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35">
                  <c:v>0.1392709</c:v>
                </c:pt>
                <c:pt idx="36">
                  <c:v>0.69635449999999999</c:v>
                </c:pt>
                <c:pt idx="37">
                  <c:v>1.2534381999999999</c:v>
                </c:pt>
                <c:pt idx="38">
                  <c:v>2.6461473999999998</c:v>
                </c:pt>
                <c:pt idx="39">
                  <c:v>8.7740676999999998</c:v>
                </c:pt>
                <c:pt idx="40">
                  <c:v>50.973155499999997</c:v>
                </c:pt>
                <c:pt idx="41">
                  <c:v>105.7066258</c:v>
                </c:pt>
                <c:pt idx="42">
                  <c:v>169.35343470000001</c:v>
                </c:pt>
                <c:pt idx="43">
                  <c:v>244.83827160000001</c:v>
                </c:pt>
                <c:pt idx="44">
                  <c:v>274.50297690000002</c:v>
                </c:pt>
                <c:pt idx="45">
                  <c:v>189.12990490000001</c:v>
                </c:pt>
                <c:pt idx="46">
                  <c:v>129.5219525</c:v>
                </c:pt>
                <c:pt idx="47">
                  <c:v>89.969012199999995</c:v>
                </c:pt>
                <c:pt idx="48">
                  <c:v>60.4435778</c:v>
                </c:pt>
                <c:pt idx="49">
                  <c:v>66.014414500000001</c:v>
                </c:pt>
                <c:pt idx="50">
                  <c:v>65.875143600000001</c:v>
                </c:pt>
                <c:pt idx="51">
                  <c:v>80.637860700000004</c:v>
                </c:pt>
                <c:pt idx="52">
                  <c:v>86.3479683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5E-407A-AC1D-1838C2884016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8.01</c:v>
                </c:pt>
                <c:pt idx="5">
                  <c:v>29.01 - 04.02</c:v>
                </c:pt>
                <c:pt idx="6">
                  <c:v>05.02 - 11.02</c:v>
                </c:pt>
                <c:pt idx="7">
                  <c:v>12.02 - 18.02</c:v>
                </c:pt>
                <c:pt idx="8">
                  <c:v>19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28.271996099999999</c:v>
                </c:pt>
                <c:pt idx="1">
                  <c:v>118.9373629</c:v>
                </c:pt>
                <c:pt idx="2">
                  <c:v>87.879948400000004</c:v>
                </c:pt>
                <c:pt idx="3">
                  <c:v>65.596601699999994</c:v>
                </c:pt>
                <c:pt idx="4">
                  <c:v>48.257372599999997</c:v>
                </c:pt>
                <c:pt idx="5">
                  <c:v>46.934298900000002</c:v>
                </c:pt>
                <c:pt idx="6">
                  <c:v>33.842832700000002</c:v>
                </c:pt>
                <c:pt idx="7">
                  <c:v>31.475227100000001</c:v>
                </c:pt>
                <c:pt idx="8">
                  <c:v>34.260645500000003</c:v>
                </c:pt>
                <c:pt idx="9">
                  <c:v>35.096271000000002</c:v>
                </c:pt>
                <c:pt idx="10">
                  <c:v>28.829079700000001</c:v>
                </c:pt>
                <c:pt idx="11">
                  <c:v>19.219386499999999</c:v>
                </c:pt>
                <c:pt idx="12">
                  <c:v>13.230737</c:v>
                </c:pt>
                <c:pt idx="13">
                  <c:v>10.8631315</c:v>
                </c:pt>
                <c:pt idx="14">
                  <c:v>9.3311513999999995</c:v>
                </c:pt>
                <c:pt idx="15">
                  <c:v>5.2922947999999996</c:v>
                </c:pt>
                <c:pt idx="16">
                  <c:v>4.1781275000000004</c:v>
                </c:pt>
                <c:pt idx="17">
                  <c:v>3.2032310000000002</c:v>
                </c:pt>
                <c:pt idx="18">
                  <c:v>2.2283346000000002</c:v>
                </c:pt>
                <c:pt idx="19">
                  <c:v>1.3927091</c:v>
                </c:pt>
                <c:pt idx="20">
                  <c:v>2.0890637000000001</c:v>
                </c:pt>
                <c:pt idx="21">
                  <c:v>0.83562550000000002</c:v>
                </c:pt>
                <c:pt idx="22">
                  <c:v>0.1392709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392709</c:v>
                </c:pt>
                <c:pt idx="27">
                  <c:v>0</c:v>
                </c:pt>
                <c:pt idx="28">
                  <c:v>0.1392709</c:v>
                </c:pt>
                <c:pt idx="29">
                  <c:v>0.1392709</c:v>
                </c:pt>
                <c:pt idx="30">
                  <c:v>0.41781269999999998</c:v>
                </c:pt>
                <c:pt idx="31">
                  <c:v>0</c:v>
                </c:pt>
                <c:pt idx="32">
                  <c:v>0.27854180000000001</c:v>
                </c:pt>
                <c:pt idx="33">
                  <c:v>0</c:v>
                </c:pt>
                <c:pt idx="34">
                  <c:v>0.27854180000000001</c:v>
                </c:pt>
                <c:pt idx="35">
                  <c:v>0.83562550000000002</c:v>
                </c:pt>
                <c:pt idx="36">
                  <c:v>0.83562550000000002</c:v>
                </c:pt>
                <c:pt idx="37">
                  <c:v>0.27854180000000001</c:v>
                </c:pt>
                <c:pt idx="38">
                  <c:v>1.5319799999999999</c:v>
                </c:pt>
                <c:pt idx="39">
                  <c:v>2.6461473999999998</c:v>
                </c:pt>
                <c:pt idx="40">
                  <c:v>1.8105218999999999</c:v>
                </c:pt>
                <c:pt idx="41">
                  <c:v>1.671251</c:v>
                </c:pt>
                <c:pt idx="42">
                  <c:v>6.4064620999999997</c:v>
                </c:pt>
                <c:pt idx="43">
                  <c:v>7.9384421999999999</c:v>
                </c:pt>
                <c:pt idx="44">
                  <c:v>17.548135500000001</c:v>
                </c:pt>
                <c:pt idx="45">
                  <c:v>25.904390500000002</c:v>
                </c:pt>
                <c:pt idx="46">
                  <c:v>29.525434300000001</c:v>
                </c:pt>
                <c:pt idx="47">
                  <c:v>38.438772999999998</c:v>
                </c:pt>
                <c:pt idx="48">
                  <c:v>33.564290900000003</c:v>
                </c:pt>
                <c:pt idx="49">
                  <c:v>27.854183299999999</c:v>
                </c:pt>
                <c:pt idx="50">
                  <c:v>20.7513665</c:v>
                </c:pt>
                <c:pt idx="51">
                  <c:v>11.2809442</c:v>
                </c:pt>
                <c:pt idx="52">
                  <c:v>8.0777131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5E-407A-AC1D-1838C2884016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8.01</c:v>
                </c:pt>
                <c:pt idx="5">
                  <c:v>29.01 - 04.02</c:v>
                </c:pt>
                <c:pt idx="6">
                  <c:v>05.02 - 11.02</c:v>
                </c:pt>
                <c:pt idx="7">
                  <c:v>12.02 - 18.02</c:v>
                </c:pt>
                <c:pt idx="8">
                  <c:v>19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0</c:v>
                </c:pt>
                <c:pt idx="1">
                  <c:v>8.4955259000000005</c:v>
                </c:pt>
                <c:pt idx="2">
                  <c:v>11.559486</c:v>
                </c:pt>
                <c:pt idx="3">
                  <c:v>27.7149123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A5E-407A-AC1D-1838C28840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305263600732"/>
          <c:y val="0.15289779551144775"/>
          <c:w val="0.79684300815915377"/>
          <c:h val="0.8041653594074434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 posilujíc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B$2:$B$12</c:f>
              <c:numCache>
                <c:formatCode>General</c:formatCode>
                <c:ptCount val="11"/>
                <c:pt idx="0">
                  <c:v>71.799279999999996</c:v>
                </c:pt>
                <c:pt idx="1">
                  <c:v>57.150320000000001</c:v>
                </c:pt>
                <c:pt idx="2">
                  <c:v>51.931060000000002</c:v>
                </c:pt>
                <c:pt idx="3">
                  <c:v>52.093249999999998</c:v>
                </c:pt>
                <c:pt idx="4">
                  <c:v>49.005809999999997</c:v>
                </c:pt>
                <c:pt idx="5">
                  <c:v>51.81776</c:v>
                </c:pt>
                <c:pt idx="6">
                  <c:v>62.901809999999998</c:v>
                </c:pt>
                <c:pt idx="7">
                  <c:v>46.950629999999997</c:v>
                </c:pt>
                <c:pt idx="8">
                  <c:v>53.403210000000001</c:v>
                </c:pt>
                <c:pt idx="9">
                  <c:v>52.278829999999999</c:v>
                </c:pt>
                <c:pt idx="10">
                  <c:v>58.28325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DA-4934-90AD-68162997E19E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 ukončovací dávko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C$2:$C$12</c:f>
              <c:numCache>
                <c:formatCode>General</c:formatCode>
                <c:ptCount val="11"/>
                <c:pt idx="0">
                  <c:v>15.847250000000001</c:v>
                </c:pt>
                <c:pt idx="1">
                  <c:v>25.68854</c:v>
                </c:pt>
                <c:pt idx="2">
                  <c:v>28.23826</c:v>
                </c:pt>
                <c:pt idx="3">
                  <c:v>26.6662</c:v>
                </c:pt>
                <c:pt idx="4">
                  <c:v>29.843389999999999</c:v>
                </c:pt>
                <c:pt idx="5">
                  <c:v>29.374230000000001</c:v>
                </c:pt>
                <c:pt idx="6">
                  <c:v>22.875389999999999</c:v>
                </c:pt>
                <c:pt idx="7">
                  <c:v>28.589870000000001</c:v>
                </c:pt>
                <c:pt idx="8">
                  <c:v>28.389600000000002</c:v>
                </c:pt>
                <c:pt idx="9">
                  <c:v>28.331060000000001</c:v>
                </c:pt>
                <c:pt idx="10">
                  <c:v>24.57363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DA-4934-90AD-68162997E19E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ouze s 1. dávkou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D$2:$D$12</c:f>
              <c:numCache>
                <c:formatCode>General</c:formatCode>
                <c:ptCount val="11"/>
                <c:pt idx="0">
                  <c:v>0.47616320000000001</c:v>
                </c:pt>
                <c:pt idx="1">
                  <c:v>0.97914449999999997</c:v>
                </c:pt>
                <c:pt idx="2">
                  <c:v>0.92228180000000004</c:v>
                </c:pt>
                <c:pt idx="3">
                  <c:v>1.0361243</c:v>
                </c:pt>
                <c:pt idx="4">
                  <c:v>1.4253035000000001</c:v>
                </c:pt>
                <c:pt idx="5">
                  <c:v>1.0249071999999999</c:v>
                </c:pt>
                <c:pt idx="6">
                  <c:v>0.99075299999999999</c:v>
                </c:pt>
                <c:pt idx="7">
                  <c:v>0.76368720000000001</c:v>
                </c:pt>
                <c:pt idx="8">
                  <c:v>0.74190040000000002</c:v>
                </c:pt>
                <c:pt idx="9">
                  <c:v>0.80595749999999999</c:v>
                </c:pt>
                <c:pt idx="10">
                  <c:v>0.8529373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7DA-4934-90AD-68162997E19E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E$2:$E$12</c:f>
              <c:numCache>
                <c:formatCode>General</c:formatCode>
                <c:ptCount val="11"/>
                <c:pt idx="0">
                  <c:v>2.6313270000000002</c:v>
                </c:pt>
                <c:pt idx="1">
                  <c:v>7.6973479999999999</c:v>
                </c:pt>
                <c:pt idx="2">
                  <c:v>8.094023</c:v>
                </c:pt>
                <c:pt idx="3">
                  <c:v>7.6379169999999998</c:v>
                </c:pt>
                <c:pt idx="4">
                  <c:v>9.8187580000000008</c:v>
                </c:pt>
                <c:pt idx="5">
                  <c:v>8.2301979999999997</c:v>
                </c:pt>
                <c:pt idx="6">
                  <c:v>5.4161159999999997</c:v>
                </c:pt>
                <c:pt idx="7">
                  <c:v>9.9602020000000007</c:v>
                </c:pt>
                <c:pt idx="8">
                  <c:v>7.8341950000000002</c:v>
                </c:pt>
                <c:pt idx="9">
                  <c:v>7.479851</c:v>
                </c:pt>
                <c:pt idx="10">
                  <c:v>6.78470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7DA-4934-90AD-68162997E19E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Ostatní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F$2:$F$12</c:f>
              <c:numCache>
                <c:formatCode>General</c:formatCode>
                <c:ptCount val="11"/>
                <c:pt idx="0">
                  <c:v>9.2459790000000002</c:v>
                </c:pt>
                <c:pt idx="1">
                  <c:v>8.4846529999999998</c:v>
                </c:pt>
                <c:pt idx="2">
                  <c:v>10.81438</c:v>
                </c:pt>
                <c:pt idx="3">
                  <c:v>12.566509999999999</c:v>
                </c:pt>
                <c:pt idx="4">
                  <c:v>9.906739</c:v>
                </c:pt>
                <c:pt idx="5">
                  <c:v>9.5529080000000004</c:v>
                </c:pt>
                <c:pt idx="6">
                  <c:v>7.8159400000000003</c:v>
                </c:pt>
                <c:pt idx="7">
                  <c:v>13.735609999999999</c:v>
                </c:pt>
                <c:pt idx="8">
                  <c:v>9.6310920000000007</c:v>
                </c:pt>
                <c:pt idx="9">
                  <c:v>11.1043</c:v>
                </c:pt>
                <c:pt idx="10">
                  <c:v>9.505471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7DA-4934-90AD-68162997E1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368428679273505E-2"/>
          <c:y val="5.0081916086988656E-2"/>
          <c:w val="0.98087724341670113"/>
          <c:h val="4.2435842974244235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Královéhradecký kraj</c:v>
                </c:pt>
                <c:pt idx="2">
                  <c:v>Liberecký kraj</c:v>
                </c:pt>
                <c:pt idx="3">
                  <c:v>Kraj Vysočina</c:v>
                </c:pt>
                <c:pt idx="4">
                  <c:v>Středočeský kraj</c:v>
                </c:pt>
                <c:pt idx="5">
                  <c:v>Jihočeský kraj</c:v>
                </c:pt>
                <c:pt idx="6">
                  <c:v>Pardubický kraj</c:v>
                </c:pt>
                <c:pt idx="7">
                  <c:v>Ústecký kraj</c:v>
                </c:pt>
                <c:pt idx="8">
                  <c:v>Hlavní město Praha</c:v>
                </c:pt>
                <c:pt idx="9">
                  <c:v>ČR</c:v>
                </c:pt>
                <c:pt idx="10">
                  <c:v>Olomoucký kraj</c:v>
                </c:pt>
                <c:pt idx="11">
                  <c:v>Zlínský kraj</c:v>
                </c:pt>
                <c:pt idx="12">
                  <c:v>Jihomoravský kraj</c:v>
                </c:pt>
                <c:pt idx="13">
                  <c:v>Karlovarský kraj</c:v>
                </c:pt>
                <c:pt idx="14">
                  <c:v>Moravskoslez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3.598709999999997</c:v>
                </c:pt>
                <c:pt idx="1">
                  <c:v>90.267269999999996</c:v>
                </c:pt>
                <c:pt idx="2">
                  <c:v>90.14855</c:v>
                </c:pt>
                <c:pt idx="3">
                  <c:v>90.045249999999996</c:v>
                </c:pt>
                <c:pt idx="4">
                  <c:v>89.997060000000005</c:v>
                </c:pt>
                <c:pt idx="5">
                  <c:v>89.501689999999996</c:v>
                </c:pt>
                <c:pt idx="6">
                  <c:v>89.267210000000006</c:v>
                </c:pt>
                <c:pt idx="7">
                  <c:v>89.086539999999999</c:v>
                </c:pt>
                <c:pt idx="8">
                  <c:v>88.938239999999993</c:v>
                </c:pt>
                <c:pt idx="9">
                  <c:v>87.956710000000001</c:v>
                </c:pt>
                <c:pt idx="10">
                  <c:v>87.318179999999998</c:v>
                </c:pt>
                <c:pt idx="11">
                  <c:v>85.149159999999995</c:v>
                </c:pt>
                <c:pt idx="12">
                  <c:v>84.943569999999994</c:v>
                </c:pt>
                <c:pt idx="13">
                  <c:v>84.335660000000004</c:v>
                </c:pt>
                <c:pt idx="14">
                  <c:v>84.20919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8-498E-AF17-8F5778D62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Plzeňský kraj</c:v>
                </c:pt>
                <c:pt idx="2">
                  <c:v>Středočeský kraj</c:v>
                </c:pt>
                <c:pt idx="3">
                  <c:v>Kraj Vysočina</c:v>
                </c:pt>
                <c:pt idx="4">
                  <c:v>Královéhradecký kraj</c:v>
                </c:pt>
                <c:pt idx="5">
                  <c:v>Hlavní město Praha</c:v>
                </c:pt>
                <c:pt idx="6">
                  <c:v>Karlovarský kraj</c:v>
                </c:pt>
                <c:pt idx="7">
                  <c:v>Jihočeský kraj</c:v>
                </c:pt>
                <c:pt idx="8">
                  <c:v>Liberecký kraj</c:v>
                </c:pt>
                <c:pt idx="9">
                  <c:v>ČR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Zlínský kraj</c:v>
                </c:pt>
                <c:pt idx="13">
                  <c:v>Moravskoslez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8.560559999999995</c:v>
                </c:pt>
                <c:pt idx="1">
                  <c:v>88.228729999999999</c:v>
                </c:pt>
                <c:pt idx="2">
                  <c:v>87.696380000000005</c:v>
                </c:pt>
                <c:pt idx="3">
                  <c:v>87.339740000000006</c:v>
                </c:pt>
                <c:pt idx="4">
                  <c:v>86.296480000000003</c:v>
                </c:pt>
                <c:pt idx="5">
                  <c:v>86.252790000000005</c:v>
                </c:pt>
                <c:pt idx="6">
                  <c:v>84.975880000000004</c:v>
                </c:pt>
                <c:pt idx="7">
                  <c:v>84.613380000000006</c:v>
                </c:pt>
                <c:pt idx="8">
                  <c:v>84.297809999999998</c:v>
                </c:pt>
                <c:pt idx="9">
                  <c:v>84.107029999999995</c:v>
                </c:pt>
                <c:pt idx="10">
                  <c:v>83.232510000000005</c:v>
                </c:pt>
                <c:pt idx="11">
                  <c:v>81.317490000000006</c:v>
                </c:pt>
                <c:pt idx="12">
                  <c:v>79.249129999999994</c:v>
                </c:pt>
                <c:pt idx="13">
                  <c:v>79.092839999999995</c:v>
                </c:pt>
                <c:pt idx="14">
                  <c:v>77.74487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40-47DE-ACA1-8E4053576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10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39 Zubní instrumentářka</c:v>
                </c:pt>
                <c:pt idx="7">
                  <c:v>§ 18 Zdravotnický záchranář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35 Řidič vozidla zdravotnické záchranné služby</c:v>
                </c:pt>
                <c:pt idx="13">
                  <c:v>§ 17 Dentální hygienistka</c:v>
                </c:pt>
                <c:pt idx="14">
                  <c:v>§ 22 Psycholog ve zdravotnictví</c:v>
                </c:pt>
                <c:pt idx="15">
                  <c:v>§ 37 Masér ve zdravotnictví, nevidomý a slabozraký masér ve zdravotnictví</c:v>
                </c:pt>
                <c:pt idx="16">
                  <c:v>§ 15 Nutriční terapeut</c:v>
                </c:pt>
                <c:pt idx="17">
                  <c:v>§ 11 Optometrista</c:v>
                </c:pt>
                <c:pt idx="18">
                  <c:v>§ 7 Ergoterapeut</c:v>
                </c:pt>
                <c:pt idx="19">
                  <c:v>§ 10 Zdravotně-sociální pracovník</c:v>
                </c:pt>
                <c:pt idx="20">
                  <c:v>§ 23 Logoped ve zdravotnictví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8 Odborný pracovník v ochraně a podpoře veřejného zdraví</c:v>
                </c:pt>
                <c:pt idx="25">
                  <c:v>§ 21a Adiktolog</c:v>
                </c:pt>
                <c:pt idx="26">
                  <c:v>§ 13 Asistent ochrany a podpory veřejného zdraví</c:v>
                </c:pt>
                <c:pt idx="27">
                  <c:v>§ 25 Radiologický fyzik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32 Nutriční asistent</c:v>
                </c:pt>
                <c:pt idx="33">
                  <c:v>§ 41 Autoptický laborant</c:v>
                </c:pt>
                <c:pt idx="34">
                  <c:v>§ 21 Radiologický technik</c:v>
                </c:pt>
                <c:pt idx="35">
                  <c:v>§ 23a Zrakový terapeu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3976</c:v>
                </c:pt>
                <c:pt idx="1">
                  <c:v>1914</c:v>
                </c:pt>
                <c:pt idx="2">
                  <c:v>1568</c:v>
                </c:pt>
                <c:pt idx="3">
                  <c:v>1371</c:v>
                </c:pt>
                <c:pt idx="4">
                  <c:v>1255</c:v>
                </c:pt>
                <c:pt idx="5">
                  <c:v>899</c:v>
                </c:pt>
                <c:pt idx="6">
                  <c:v>704</c:v>
                </c:pt>
                <c:pt idx="7">
                  <c:v>699</c:v>
                </c:pt>
                <c:pt idx="8">
                  <c:v>548</c:v>
                </c:pt>
                <c:pt idx="9">
                  <c:v>546</c:v>
                </c:pt>
                <c:pt idx="10">
                  <c:v>493</c:v>
                </c:pt>
                <c:pt idx="11">
                  <c:v>382</c:v>
                </c:pt>
                <c:pt idx="12">
                  <c:v>294</c:v>
                </c:pt>
                <c:pt idx="13">
                  <c:v>267</c:v>
                </c:pt>
                <c:pt idx="14">
                  <c:v>264</c:v>
                </c:pt>
                <c:pt idx="15">
                  <c:v>212</c:v>
                </c:pt>
                <c:pt idx="16">
                  <c:v>175</c:v>
                </c:pt>
                <c:pt idx="17">
                  <c:v>163</c:v>
                </c:pt>
                <c:pt idx="18">
                  <c:v>160</c:v>
                </c:pt>
                <c:pt idx="19">
                  <c:v>152</c:v>
                </c:pt>
                <c:pt idx="20">
                  <c:v>141</c:v>
                </c:pt>
                <c:pt idx="21">
                  <c:v>123</c:v>
                </c:pt>
                <c:pt idx="22">
                  <c:v>77</c:v>
                </c:pt>
                <c:pt idx="23">
                  <c:v>53</c:v>
                </c:pt>
                <c:pt idx="24">
                  <c:v>38</c:v>
                </c:pt>
                <c:pt idx="25">
                  <c:v>36</c:v>
                </c:pt>
                <c:pt idx="26">
                  <c:v>27</c:v>
                </c:pt>
                <c:pt idx="27">
                  <c:v>22</c:v>
                </c:pt>
                <c:pt idx="28">
                  <c:v>19</c:v>
                </c:pt>
                <c:pt idx="29">
                  <c:v>14</c:v>
                </c:pt>
                <c:pt idx="30">
                  <c:v>10</c:v>
                </c:pt>
                <c:pt idx="31">
                  <c:v>10</c:v>
                </c:pt>
                <c:pt idx="32">
                  <c:v>8</c:v>
                </c:pt>
                <c:pt idx="33">
                  <c:v>4</c:v>
                </c:pt>
                <c:pt idx="34">
                  <c:v>3</c:v>
                </c:pt>
                <c:pt idx="3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39 Zubní instrumentářka</c:v>
                </c:pt>
                <c:pt idx="7">
                  <c:v>§ 18 Zdravotnický záchranář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22 Psycholog ve zdravotnictví</c:v>
                </c:pt>
                <c:pt idx="13">
                  <c:v>§ 17 Dentální hygienistka</c:v>
                </c:pt>
                <c:pt idx="14">
                  <c:v>§ 35 Řidič vozidla zdravotnické záchranné služby</c:v>
                </c:pt>
                <c:pt idx="15">
                  <c:v>§ 37 Masér ve zdravotnictví, nevidomý a slabozraký masér ve zdravotnictví</c:v>
                </c:pt>
                <c:pt idx="16">
                  <c:v>§ 15 Nutriční terapeut</c:v>
                </c:pt>
                <c:pt idx="17">
                  <c:v>§ 7 Ergoterapeut</c:v>
                </c:pt>
                <c:pt idx="18">
                  <c:v>§ 23 Logoped ve zdravotnictví</c:v>
                </c:pt>
                <c:pt idx="19">
                  <c:v>§ 11 Optometrista</c:v>
                </c:pt>
                <c:pt idx="20">
                  <c:v>§ 10 Zdravotně-sociální pracovník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1a Adiktolog</c:v>
                </c:pt>
                <c:pt idx="25">
                  <c:v>§ 28 Odborný pracovník v ochraně a podpoře veřejného zdraví</c:v>
                </c:pt>
                <c:pt idx="26">
                  <c:v>§ 25 Radiologický fyzik</c:v>
                </c:pt>
                <c:pt idx="27">
                  <c:v>§ 13 Asistent ochrany a podpory veřejného zdraví</c:v>
                </c:pt>
                <c:pt idx="28">
                  <c:v>§ 14 Ortotik-protetik</c:v>
                </c:pt>
                <c:pt idx="29">
                  <c:v>§ 12 Ortoptista</c:v>
                </c:pt>
                <c:pt idx="30">
                  <c:v>§ 20 Biomedicínský technik</c:v>
                </c:pt>
                <c:pt idx="31">
                  <c:v>§ 31 Ortoticko-protetický technik</c:v>
                </c:pt>
                <c:pt idx="32">
                  <c:v>§ 32 Nutriční asistent</c:v>
                </c:pt>
                <c:pt idx="33">
                  <c:v>§ 41 Autoptický laborant</c:v>
                </c:pt>
                <c:pt idx="34">
                  <c:v>§ 21 Radiologický technik</c:v>
                </c:pt>
                <c:pt idx="35">
                  <c:v>§ 23a Zrakový terapeu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1590</c:v>
                </c:pt>
                <c:pt idx="1">
                  <c:v>982</c:v>
                </c:pt>
                <c:pt idx="2">
                  <c:v>788</c:v>
                </c:pt>
                <c:pt idx="3">
                  <c:v>732</c:v>
                </c:pt>
                <c:pt idx="4">
                  <c:v>591</c:v>
                </c:pt>
                <c:pt idx="5">
                  <c:v>361</c:v>
                </c:pt>
                <c:pt idx="6">
                  <c:v>354</c:v>
                </c:pt>
                <c:pt idx="7">
                  <c:v>321</c:v>
                </c:pt>
                <c:pt idx="8">
                  <c:v>317</c:v>
                </c:pt>
                <c:pt idx="9">
                  <c:v>252</c:v>
                </c:pt>
                <c:pt idx="10">
                  <c:v>232</c:v>
                </c:pt>
                <c:pt idx="11">
                  <c:v>160</c:v>
                </c:pt>
                <c:pt idx="12">
                  <c:v>153</c:v>
                </c:pt>
                <c:pt idx="13">
                  <c:v>138</c:v>
                </c:pt>
                <c:pt idx="14">
                  <c:v>114</c:v>
                </c:pt>
                <c:pt idx="15">
                  <c:v>98</c:v>
                </c:pt>
                <c:pt idx="16">
                  <c:v>93</c:v>
                </c:pt>
                <c:pt idx="17">
                  <c:v>87</c:v>
                </c:pt>
                <c:pt idx="18">
                  <c:v>87</c:v>
                </c:pt>
                <c:pt idx="19">
                  <c:v>80</c:v>
                </c:pt>
                <c:pt idx="20">
                  <c:v>72</c:v>
                </c:pt>
                <c:pt idx="21">
                  <c:v>58</c:v>
                </c:pt>
                <c:pt idx="22">
                  <c:v>42</c:v>
                </c:pt>
                <c:pt idx="23">
                  <c:v>29</c:v>
                </c:pt>
                <c:pt idx="24">
                  <c:v>19</c:v>
                </c:pt>
                <c:pt idx="25">
                  <c:v>19</c:v>
                </c:pt>
                <c:pt idx="26">
                  <c:v>16</c:v>
                </c:pt>
                <c:pt idx="27">
                  <c:v>15</c:v>
                </c:pt>
                <c:pt idx="28">
                  <c:v>7</c:v>
                </c:pt>
                <c:pt idx="29">
                  <c:v>6</c:v>
                </c:pt>
                <c:pt idx="30">
                  <c:v>6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2</c:v>
                </c:pt>
                <c:pt idx="3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29</c:f>
              <c:strCache>
                <c:ptCount val="28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9 Zubní instrumentářka</c:v>
                </c:pt>
                <c:pt idx="6">
                  <c:v>§ 26 Odborný pracovník v laboratorních metodách a v přípravě léčivých přípravků</c:v>
                </c:pt>
                <c:pt idx="7">
                  <c:v>§ 18 Zdravotnický záchranář</c:v>
                </c:pt>
                <c:pt idx="8">
                  <c:v>§ 36 Ošetřovatel</c:v>
                </c:pt>
                <c:pt idx="9">
                  <c:v>§ 8 Radiologický asistent</c:v>
                </c:pt>
                <c:pt idx="10">
                  <c:v>§ 22 Psycholog ve zdravotnictví</c:v>
                </c:pt>
                <c:pt idx="11">
                  <c:v>§ 16 Zubní technik</c:v>
                </c:pt>
                <c:pt idx="12">
                  <c:v>§ 17 Dentální hygienistka</c:v>
                </c:pt>
                <c:pt idx="13">
                  <c:v>§ 40 Řidič zdravotnické dopravní služby</c:v>
                </c:pt>
                <c:pt idx="14">
                  <c:v>§ 7 Ergoterapeut</c:v>
                </c:pt>
                <c:pt idx="15">
                  <c:v>§ 35 Řidič vozidla zdravotnické záchranné služby</c:v>
                </c:pt>
                <c:pt idx="16">
                  <c:v>§ 15 Nutriční terapeut</c:v>
                </c:pt>
                <c:pt idx="17">
                  <c:v>§ 10 Zdravotně-sociální pracovník</c:v>
                </c:pt>
                <c:pt idx="18">
                  <c:v>§ 11 Optometrista</c:v>
                </c:pt>
                <c:pt idx="19">
                  <c:v>§ 23 Logoped ve zdravotnictví</c:v>
                </c:pt>
                <c:pt idx="20">
                  <c:v>§ 37 Masér ve zdravotnictví, nevidomý a slabozraký masér ve zdravotnictví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13 Asistent ochrany a podpory veřejného zdraví</c:v>
                </c:pt>
                <c:pt idx="25">
                  <c:v>§ 28 Odborný pracovník v ochraně a podpoře veřejného zdraví</c:v>
                </c:pt>
                <c:pt idx="26">
                  <c:v>§ 25 Radiologický fyzik</c:v>
                </c:pt>
                <c:pt idx="27">
                  <c:v>§ 21a Adiktolog</c:v>
                </c:pt>
              </c:strCache>
            </c:strRef>
          </c:cat>
          <c:val>
            <c:numRef>
              <c:f>List1!$B$2:$B$29</c:f>
              <c:numCache>
                <c:formatCode>General</c:formatCode>
                <c:ptCount val="28"/>
                <c:pt idx="0">
                  <c:v>317</c:v>
                </c:pt>
                <c:pt idx="1">
                  <c:v>247</c:v>
                </c:pt>
                <c:pt idx="2">
                  <c:v>170</c:v>
                </c:pt>
                <c:pt idx="3">
                  <c:v>166</c:v>
                </c:pt>
                <c:pt idx="4">
                  <c:v>106</c:v>
                </c:pt>
                <c:pt idx="5">
                  <c:v>87</c:v>
                </c:pt>
                <c:pt idx="6">
                  <c:v>80</c:v>
                </c:pt>
                <c:pt idx="7">
                  <c:v>71</c:v>
                </c:pt>
                <c:pt idx="8">
                  <c:v>66</c:v>
                </c:pt>
                <c:pt idx="9">
                  <c:v>58</c:v>
                </c:pt>
                <c:pt idx="10">
                  <c:v>51</c:v>
                </c:pt>
                <c:pt idx="11">
                  <c:v>50</c:v>
                </c:pt>
                <c:pt idx="12">
                  <c:v>41</c:v>
                </c:pt>
                <c:pt idx="13">
                  <c:v>32</c:v>
                </c:pt>
                <c:pt idx="14">
                  <c:v>25</c:v>
                </c:pt>
                <c:pt idx="15">
                  <c:v>22</c:v>
                </c:pt>
                <c:pt idx="16">
                  <c:v>21</c:v>
                </c:pt>
                <c:pt idx="17">
                  <c:v>19</c:v>
                </c:pt>
                <c:pt idx="18">
                  <c:v>18</c:v>
                </c:pt>
                <c:pt idx="19">
                  <c:v>18</c:v>
                </c:pt>
                <c:pt idx="20">
                  <c:v>16</c:v>
                </c:pt>
                <c:pt idx="21">
                  <c:v>14</c:v>
                </c:pt>
                <c:pt idx="22">
                  <c:v>11</c:v>
                </c:pt>
                <c:pt idx="23">
                  <c:v>9</c:v>
                </c:pt>
                <c:pt idx="24">
                  <c:v>6</c:v>
                </c:pt>
                <c:pt idx="25">
                  <c:v>6</c:v>
                </c:pt>
                <c:pt idx="26">
                  <c:v>4</c:v>
                </c:pt>
                <c:pt idx="27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9.325113282687688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23.07.21</c:v>
                </c:pt>
                <c:pt idx="1">
                  <c:v>24.07.21</c:v>
                </c:pt>
                <c:pt idx="2">
                  <c:v>25.07.21</c:v>
                </c:pt>
                <c:pt idx="3">
                  <c:v>26.07.21</c:v>
                </c:pt>
                <c:pt idx="4">
                  <c:v>27.07.21</c:v>
                </c:pt>
                <c:pt idx="5">
                  <c:v>28.07.21</c:v>
                </c:pt>
                <c:pt idx="6">
                  <c:v>29.07.21</c:v>
                </c:pt>
                <c:pt idx="7">
                  <c:v>30.07.21</c:v>
                </c:pt>
                <c:pt idx="8">
                  <c:v>31.07.21</c:v>
                </c:pt>
                <c:pt idx="9">
                  <c:v>01.08.21</c:v>
                </c:pt>
                <c:pt idx="10">
                  <c:v>02.08.21</c:v>
                </c:pt>
                <c:pt idx="11">
                  <c:v>03.08.21</c:v>
                </c:pt>
                <c:pt idx="12">
                  <c:v>04.08.21</c:v>
                </c:pt>
                <c:pt idx="13">
                  <c:v>05.08.21</c:v>
                </c:pt>
                <c:pt idx="14">
                  <c:v>06.08.21</c:v>
                </c:pt>
                <c:pt idx="15">
                  <c:v>07.08.21</c:v>
                </c:pt>
                <c:pt idx="16">
                  <c:v>08.08.21</c:v>
                </c:pt>
                <c:pt idx="17">
                  <c:v>09.08.21</c:v>
                </c:pt>
                <c:pt idx="18">
                  <c:v>10.08.21</c:v>
                </c:pt>
                <c:pt idx="19">
                  <c:v>11.08.21</c:v>
                </c:pt>
                <c:pt idx="20">
                  <c:v>12.08.21</c:v>
                </c:pt>
                <c:pt idx="21">
                  <c:v>13.08.21</c:v>
                </c:pt>
                <c:pt idx="22">
                  <c:v>14.08.21</c:v>
                </c:pt>
                <c:pt idx="23">
                  <c:v>15.08.21</c:v>
                </c:pt>
                <c:pt idx="24">
                  <c:v>16.08.21</c:v>
                </c:pt>
                <c:pt idx="25">
                  <c:v>17.08.21</c:v>
                </c:pt>
                <c:pt idx="26">
                  <c:v>18.08.21</c:v>
                </c:pt>
                <c:pt idx="27">
                  <c:v>19.08.21</c:v>
                </c:pt>
                <c:pt idx="28">
                  <c:v>20.08.21</c:v>
                </c:pt>
                <c:pt idx="29">
                  <c:v>21.08.21</c:v>
                </c:pt>
                <c:pt idx="30">
                  <c:v>22.08.21</c:v>
                </c:pt>
                <c:pt idx="31">
                  <c:v>23.08.21</c:v>
                </c:pt>
                <c:pt idx="32">
                  <c:v>24.08.21</c:v>
                </c:pt>
                <c:pt idx="33">
                  <c:v>25.08.21</c:v>
                </c:pt>
                <c:pt idx="34">
                  <c:v>26.08.21</c:v>
                </c:pt>
                <c:pt idx="35">
                  <c:v>27.08.21</c:v>
                </c:pt>
                <c:pt idx="36">
                  <c:v>28.08.21</c:v>
                </c:pt>
                <c:pt idx="37">
                  <c:v>29.08.21</c:v>
                </c:pt>
                <c:pt idx="38">
                  <c:v>30.08.21</c:v>
                </c:pt>
                <c:pt idx="39">
                  <c:v>31.08.21</c:v>
                </c:pt>
                <c:pt idx="40">
                  <c:v>01.09.21</c:v>
                </c:pt>
                <c:pt idx="41">
                  <c:v>02.09.21</c:v>
                </c:pt>
                <c:pt idx="42">
                  <c:v>03.09.21</c:v>
                </c:pt>
                <c:pt idx="43">
                  <c:v>04.09.21</c:v>
                </c:pt>
                <c:pt idx="44">
                  <c:v>05.09.21</c:v>
                </c:pt>
                <c:pt idx="45">
                  <c:v>06.09.21</c:v>
                </c:pt>
                <c:pt idx="46">
                  <c:v>07.09.21</c:v>
                </c:pt>
                <c:pt idx="47">
                  <c:v>08.09.21</c:v>
                </c:pt>
                <c:pt idx="48">
                  <c:v>09.09.21</c:v>
                </c:pt>
                <c:pt idx="49">
                  <c:v>10.09.21</c:v>
                </c:pt>
                <c:pt idx="50">
                  <c:v>11.09.21</c:v>
                </c:pt>
                <c:pt idx="51">
                  <c:v>12.09.21</c:v>
                </c:pt>
                <c:pt idx="52">
                  <c:v>13.09.21</c:v>
                </c:pt>
                <c:pt idx="53">
                  <c:v>14.09.21</c:v>
                </c:pt>
                <c:pt idx="54">
                  <c:v>15.09.21</c:v>
                </c:pt>
                <c:pt idx="55">
                  <c:v>16.09.21</c:v>
                </c:pt>
                <c:pt idx="56">
                  <c:v>17.09.21</c:v>
                </c:pt>
                <c:pt idx="57">
                  <c:v>18.09.21</c:v>
                </c:pt>
                <c:pt idx="58">
                  <c:v>19.09.21</c:v>
                </c:pt>
                <c:pt idx="59">
                  <c:v>20.09.21</c:v>
                </c:pt>
                <c:pt idx="60">
                  <c:v>21.09.21</c:v>
                </c:pt>
                <c:pt idx="61">
                  <c:v>22.09.21</c:v>
                </c:pt>
                <c:pt idx="62">
                  <c:v>23.09.21</c:v>
                </c:pt>
                <c:pt idx="63">
                  <c:v>24.09.21</c:v>
                </c:pt>
                <c:pt idx="64">
                  <c:v>25.09.21</c:v>
                </c:pt>
                <c:pt idx="65">
                  <c:v>26.09.21</c:v>
                </c:pt>
                <c:pt idx="66">
                  <c:v>27.09.21</c:v>
                </c:pt>
                <c:pt idx="67">
                  <c:v>28.09.21</c:v>
                </c:pt>
                <c:pt idx="68">
                  <c:v>29.09.21</c:v>
                </c:pt>
                <c:pt idx="69">
                  <c:v>30.09.21</c:v>
                </c:pt>
                <c:pt idx="70">
                  <c:v>01.10.21</c:v>
                </c:pt>
                <c:pt idx="71">
                  <c:v>02.10.21</c:v>
                </c:pt>
                <c:pt idx="72">
                  <c:v>03.10.21</c:v>
                </c:pt>
                <c:pt idx="73">
                  <c:v>04.10.21</c:v>
                </c:pt>
                <c:pt idx="74">
                  <c:v>05.10.21</c:v>
                </c:pt>
                <c:pt idx="75">
                  <c:v>06.10.21</c:v>
                </c:pt>
                <c:pt idx="76">
                  <c:v>07.10.21</c:v>
                </c:pt>
                <c:pt idx="77">
                  <c:v>08.10.21</c:v>
                </c:pt>
                <c:pt idx="78">
                  <c:v>09.10.21</c:v>
                </c:pt>
                <c:pt idx="79">
                  <c:v>10.10.21</c:v>
                </c:pt>
                <c:pt idx="80">
                  <c:v>11.10.21</c:v>
                </c:pt>
                <c:pt idx="81">
                  <c:v>12.10.21</c:v>
                </c:pt>
                <c:pt idx="82">
                  <c:v>13.10.21</c:v>
                </c:pt>
                <c:pt idx="83">
                  <c:v>14.10.21</c:v>
                </c:pt>
                <c:pt idx="84">
                  <c:v>15.10.21</c:v>
                </c:pt>
                <c:pt idx="85">
                  <c:v>16.10.21</c:v>
                </c:pt>
                <c:pt idx="86">
                  <c:v>17.10.21</c:v>
                </c:pt>
                <c:pt idx="87">
                  <c:v>18.10.21</c:v>
                </c:pt>
                <c:pt idx="88">
                  <c:v>19.10.21</c:v>
                </c:pt>
                <c:pt idx="89">
                  <c:v>20.10.21</c:v>
                </c:pt>
                <c:pt idx="90">
                  <c:v>21.10.21</c:v>
                </c:pt>
                <c:pt idx="91">
                  <c:v>22.10.21</c:v>
                </c:pt>
                <c:pt idx="92">
                  <c:v>23.10.21</c:v>
                </c:pt>
                <c:pt idx="93">
                  <c:v>24.10.21</c:v>
                </c:pt>
                <c:pt idx="94">
                  <c:v>25.10.21</c:v>
                </c:pt>
                <c:pt idx="95">
                  <c:v>26.10.21</c:v>
                </c:pt>
                <c:pt idx="96">
                  <c:v>27.10.21</c:v>
                </c:pt>
                <c:pt idx="97">
                  <c:v>28.10.21</c:v>
                </c:pt>
                <c:pt idx="98">
                  <c:v>29.10.21</c:v>
                </c:pt>
                <c:pt idx="99">
                  <c:v>30.10.21</c:v>
                </c:pt>
                <c:pt idx="100">
                  <c:v>31.10.21</c:v>
                </c:pt>
                <c:pt idx="101">
                  <c:v>01.11.21</c:v>
                </c:pt>
                <c:pt idx="102">
                  <c:v>02.11.21</c:v>
                </c:pt>
                <c:pt idx="103">
                  <c:v>03.11.21</c:v>
                </c:pt>
                <c:pt idx="104">
                  <c:v>04.11.21</c:v>
                </c:pt>
                <c:pt idx="105">
                  <c:v>05.11.21</c:v>
                </c:pt>
                <c:pt idx="106">
                  <c:v>06.11.21</c:v>
                </c:pt>
                <c:pt idx="107">
                  <c:v>07.11.21</c:v>
                </c:pt>
                <c:pt idx="108">
                  <c:v>08.11.21</c:v>
                </c:pt>
                <c:pt idx="109">
                  <c:v>09.11.21</c:v>
                </c:pt>
                <c:pt idx="110">
                  <c:v>10.11.21</c:v>
                </c:pt>
                <c:pt idx="111">
                  <c:v>11.11.21</c:v>
                </c:pt>
                <c:pt idx="112">
                  <c:v>12.11.21</c:v>
                </c:pt>
                <c:pt idx="113">
                  <c:v>13.11.21</c:v>
                </c:pt>
                <c:pt idx="114">
                  <c:v>14.11.21</c:v>
                </c:pt>
                <c:pt idx="115">
                  <c:v>15.11.21</c:v>
                </c:pt>
                <c:pt idx="116">
                  <c:v>16.11.21</c:v>
                </c:pt>
                <c:pt idx="117">
                  <c:v>17.11.21</c:v>
                </c:pt>
                <c:pt idx="118">
                  <c:v>18.11.21</c:v>
                </c:pt>
                <c:pt idx="119">
                  <c:v>19.11.21</c:v>
                </c:pt>
                <c:pt idx="120">
                  <c:v>20.11.21</c:v>
                </c:pt>
                <c:pt idx="121">
                  <c:v>21.11.21</c:v>
                </c:pt>
                <c:pt idx="122">
                  <c:v>22.11.21</c:v>
                </c:pt>
                <c:pt idx="123">
                  <c:v>23.11.21</c:v>
                </c:pt>
                <c:pt idx="124">
                  <c:v>24.11.21</c:v>
                </c:pt>
                <c:pt idx="125">
                  <c:v>25.11.21</c:v>
                </c:pt>
                <c:pt idx="126">
                  <c:v>26.11.21</c:v>
                </c:pt>
                <c:pt idx="127">
                  <c:v>27.11.21</c:v>
                </c:pt>
                <c:pt idx="128">
                  <c:v>28.11.21</c:v>
                </c:pt>
                <c:pt idx="129">
                  <c:v>29.11.21</c:v>
                </c:pt>
                <c:pt idx="130">
                  <c:v>30.11.21</c:v>
                </c:pt>
                <c:pt idx="131">
                  <c:v>01.12.21</c:v>
                </c:pt>
                <c:pt idx="132">
                  <c:v>02.12.21</c:v>
                </c:pt>
                <c:pt idx="133">
                  <c:v>03.12.21</c:v>
                </c:pt>
                <c:pt idx="134">
                  <c:v>04.12.21</c:v>
                </c:pt>
                <c:pt idx="135">
                  <c:v>05.12.21</c:v>
                </c:pt>
                <c:pt idx="136">
                  <c:v>06.12.21</c:v>
                </c:pt>
                <c:pt idx="137">
                  <c:v>07.12.21</c:v>
                </c:pt>
                <c:pt idx="138">
                  <c:v>08.12.21</c:v>
                </c:pt>
                <c:pt idx="139">
                  <c:v>09.12.21</c:v>
                </c:pt>
                <c:pt idx="140">
                  <c:v>10.12.21</c:v>
                </c:pt>
                <c:pt idx="141">
                  <c:v>11.12.21</c:v>
                </c:pt>
                <c:pt idx="142">
                  <c:v>12.12.21</c:v>
                </c:pt>
                <c:pt idx="143">
                  <c:v>13.12.21</c:v>
                </c:pt>
                <c:pt idx="144">
                  <c:v>14.12.21</c:v>
                </c:pt>
                <c:pt idx="145">
                  <c:v>15.12.21</c:v>
                </c:pt>
                <c:pt idx="146">
                  <c:v>16.12.21</c:v>
                </c:pt>
                <c:pt idx="147">
                  <c:v>17.12.21</c:v>
                </c:pt>
                <c:pt idx="148">
                  <c:v>18.12.21</c:v>
                </c:pt>
                <c:pt idx="149">
                  <c:v>19.12.21</c:v>
                </c:pt>
                <c:pt idx="150">
                  <c:v>20.12.21</c:v>
                </c:pt>
                <c:pt idx="151">
                  <c:v>21.12.21</c:v>
                </c:pt>
                <c:pt idx="152">
                  <c:v>22.12.21</c:v>
                </c:pt>
                <c:pt idx="153">
                  <c:v>23.12.21</c:v>
                </c:pt>
                <c:pt idx="154">
                  <c:v>24.12.21</c:v>
                </c:pt>
                <c:pt idx="155">
                  <c:v>25.12.21</c:v>
                </c:pt>
                <c:pt idx="156">
                  <c:v>26.12.21</c:v>
                </c:pt>
                <c:pt idx="157">
                  <c:v>27.12.21</c:v>
                </c:pt>
                <c:pt idx="158">
                  <c:v>28.12.21</c:v>
                </c:pt>
                <c:pt idx="159">
                  <c:v>29.12.21</c:v>
                </c:pt>
                <c:pt idx="160">
                  <c:v>30.12.21</c:v>
                </c:pt>
                <c:pt idx="161">
                  <c:v>31.12.21</c:v>
                </c:pt>
                <c:pt idx="162">
                  <c:v>01.01.22</c:v>
                </c:pt>
                <c:pt idx="163">
                  <c:v>02.01.22</c:v>
                </c:pt>
                <c:pt idx="164">
                  <c:v>03.01.22</c:v>
                </c:pt>
                <c:pt idx="165">
                  <c:v>04.01.22</c:v>
                </c:pt>
                <c:pt idx="166">
                  <c:v>05.01.22</c:v>
                </c:pt>
                <c:pt idx="167">
                  <c:v>06.01.22</c:v>
                </c:pt>
                <c:pt idx="168">
                  <c:v>07.01.22</c:v>
                </c:pt>
                <c:pt idx="169">
                  <c:v>08.01.22</c:v>
                </c:pt>
                <c:pt idx="170">
                  <c:v>09.01.22</c:v>
                </c:pt>
                <c:pt idx="171">
                  <c:v>10.01.22</c:v>
                </c:pt>
                <c:pt idx="172">
                  <c:v>11.01.22</c:v>
                </c:pt>
                <c:pt idx="173">
                  <c:v>12.01.22</c:v>
                </c:pt>
                <c:pt idx="174">
                  <c:v>13.01.22</c:v>
                </c:pt>
                <c:pt idx="175">
                  <c:v>14.01.22</c:v>
                </c:pt>
                <c:pt idx="176">
                  <c:v>15.01.22</c:v>
                </c:pt>
                <c:pt idx="177">
                  <c:v>16.01.22</c:v>
                </c:pt>
                <c:pt idx="178">
                  <c:v>17.01.22</c:v>
                </c:pt>
                <c:pt idx="179">
                  <c:v>18.01.22</c:v>
                </c:pt>
                <c:pt idx="180">
                  <c:v>19.01.22</c:v>
                </c:pt>
                <c:pt idx="181">
                  <c:v>20.01.22</c:v>
                </c:pt>
                <c:pt idx="182">
                  <c:v>21.01.22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3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6</c:v>
                </c:pt>
                <c:pt idx="13">
                  <c:v>1</c:v>
                </c:pt>
                <c:pt idx="14">
                  <c:v>2</c:v>
                </c:pt>
                <c:pt idx="15">
                  <c:v>0</c:v>
                </c:pt>
                <c:pt idx="16">
                  <c:v>2</c:v>
                </c:pt>
                <c:pt idx="17">
                  <c:v>2</c:v>
                </c:pt>
                <c:pt idx="18">
                  <c:v>0</c:v>
                </c:pt>
                <c:pt idx="19">
                  <c:v>3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3</c:v>
                </c:pt>
                <c:pt idx="25">
                  <c:v>0</c:v>
                </c:pt>
                <c:pt idx="26">
                  <c:v>0</c:v>
                </c:pt>
                <c:pt idx="27">
                  <c:v>1</c:v>
                </c:pt>
                <c:pt idx="28">
                  <c:v>1</c:v>
                </c:pt>
                <c:pt idx="29">
                  <c:v>0</c:v>
                </c:pt>
                <c:pt idx="30">
                  <c:v>0</c:v>
                </c:pt>
                <c:pt idx="31">
                  <c:v>2</c:v>
                </c:pt>
                <c:pt idx="32">
                  <c:v>0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4</c:v>
                </c:pt>
                <c:pt idx="40">
                  <c:v>4</c:v>
                </c:pt>
                <c:pt idx="41">
                  <c:v>1</c:v>
                </c:pt>
                <c:pt idx="42">
                  <c:v>1</c:v>
                </c:pt>
                <c:pt idx="43">
                  <c:v>3</c:v>
                </c:pt>
                <c:pt idx="44">
                  <c:v>1</c:v>
                </c:pt>
                <c:pt idx="45">
                  <c:v>0</c:v>
                </c:pt>
                <c:pt idx="46">
                  <c:v>2</c:v>
                </c:pt>
                <c:pt idx="47">
                  <c:v>0</c:v>
                </c:pt>
                <c:pt idx="48">
                  <c:v>0</c:v>
                </c:pt>
                <c:pt idx="49">
                  <c:v>3</c:v>
                </c:pt>
                <c:pt idx="50">
                  <c:v>3</c:v>
                </c:pt>
                <c:pt idx="51">
                  <c:v>0</c:v>
                </c:pt>
                <c:pt idx="52">
                  <c:v>4</c:v>
                </c:pt>
                <c:pt idx="53">
                  <c:v>2</c:v>
                </c:pt>
                <c:pt idx="54">
                  <c:v>0</c:v>
                </c:pt>
                <c:pt idx="55">
                  <c:v>1</c:v>
                </c:pt>
                <c:pt idx="56">
                  <c:v>2</c:v>
                </c:pt>
                <c:pt idx="57">
                  <c:v>1</c:v>
                </c:pt>
                <c:pt idx="58">
                  <c:v>1</c:v>
                </c:pt>
                <c:pt idx="59">
                  <c:v>0</c:v>
                </c:pt>
                <c:pt idx="60">
                  <c:v>3</c:v>
                </c:pt>
                <c:pt idx="61">
                  <c:v>3</c:v>
                </c:pt>
                <c:pt idx="62">
                  <c:v>2</c:v>
                </c:pt>
                <c:pt idx="63">
                  <c:v>3</c:v>
                </c:pt>
                <c:pt idx="64">
                  <c:v>0</c:v>
                </c:pt>
                <c:pt idx="65">
                  <c:v>2</c:v>
                </c:pt>
                <c:pt idx="66">
                  <c:v>6</c:v>
                </c:pt>
                <c:pt idx="67">
                  <c:v>4</c:v>
                </c:pt>
                <c:pt idx="68">
                  <c:v>3</c:v>
                </c:pt>
                <c:pt idx="69">
                  <c:v>9</c:v>
                </c:pt>
                <c:pt idx="70">
                  <c:v>2</c:v>
                </c:pt>
                <c:pt idx="71">
                  <c:v>5</c:v>
                </c:pt>
                <c:pt idx="72">
                  <c:v>1</c:v>
                </c:pt>
                <c:pt idx="73">
                  <c:v>0</c:v>
                </c:pt>
                <c:pt idx="74">
                  <c:v>2</c:v>
                </c:pt>
                <c:pt idx="75">
                  <c:v>5</c:v>
                </c:pt>
                <c:pt idx="76">
                  <c:v>6</c:v>
                </c:pt>
                <c:pt idx="77">
                  <c:v>6</c:v>
                </c:pt>
                <c:pt idx="78">
                  <c:v>1</c:v>
                </c:pt>
                <c:pt idx="79">
                  <c:v>1</c:v>
                </c:pt>
                <c:pt idx="80">
                  <c:v>3</c:v>
                </c:pt>
                <c:pt idx="81">
                  <c:v>10</c:v>
                </c:pt>
                <c:pt idx="82">
                  <c:v>7</c:v>
                </c:pt>
                <c:pt idx="83">
                  <c:v>7</c:v>
                </c:pt>
                <c:pt idx="84">
                  <c:v>6</c:v>
                </c:pt>
                <c:pt idx="85">
                  <c:v>5</c:v>
                </c:pt>
                <c:pt idx="86">
                  <c:v>8</c:v>
                </c:pt>
                <c:pt idx="87">
                  <c:v>17</c:v>
                </c:pt>
                <c:pt idx="88">
                  <c:v>16</c:v>
                </c:pt>
                <c:pt idx="89">
                  <c:v>13</c:v>
                </c:pt>
                <c:pt idx="90">
                  <c:v>13</c:v>
                </c:pt>
                <c:pt idx="91">
                  <c:v>16</c:v>
                </c:pt>
                <c:pt idx="92">
                  <c:v>13</c:v>
                </c:pt>
                <c:pt idx="93">
                  <c:v>12</c:v>
                </c:pt>
                <c:pt idx="94">
                  <c:v>28</c:v>
                </c:pt>
                <c:pt idx="95">
                  <c:v>20</c:v>
                </c:pt>
                <c:pt idx="96">
                  <c:v>23</c:v>
                </c:pt>
                <c:pt idx="97">
                  <c:v>22</c:v>
                </c:pt>
                <c:pt idx="98">
                  <c:v>36</c:v>
                </c:pt>
                <c:pt idx="99">
                  <c:v>21</c:v>
                </c:pt>
                <c:pt idx="100">
                  <c:v>18</c:v>
                </c:pt>
                <c:pt idx="101">
                  <c:v>55</c:v>
                </c:pt>
                <c:pt idx="102">
                  <c:v>38</c:v>
                </c:pt>
                <c:pt idx="103">
                  <c:v>38</c:v>
                </c:pt>
                <c:pt idx="104">
                  <c:v>27</c:v>
                </c:pt>
                <c:pt idx="105">
                  <c:v>40</c:v>
                </c:pt>
                <c:pt idx="106">
                  <c:v>20</c:v>
                </c:pt>
                <c:pt idx="107">
                  <c:v>18</c:v>
                </c:pt>
                <c:pt idx="108">
                  <c:v>52</c:v>
                </c:pt>
                <c:pt idx="109">
                  <c:v>46</c:v>
                </c:pt>
                <c:pt idx="110">
                  <c:v>48</c:v>
                </c:pt>
                <c:pt idx="111">
                  <c:v>50</c:v>
                </c:pt>
                <c:pt idx="112">
                  <c:v>42</c:v>
                </c:pt>
                <c:pt idx="113">
                  <c:v>49</c:v>
                </c:pt>
                <c:pt idx="114">
                  <c:v>22</c:v>
                </c:pt>
                <c:pt idx="115">
                  <c:v>63</c:v>
                </c:pt>
                <c:pt idx="116">
                  <c:v>57</c:v>
                </c:pt>
                <c:pt idx="117">
                  <c:v>44</c:v>
                </c:pt>
                <c:pt idx="118">
                  <c:v>54</c:v>
                </c:pt>
                <c:pt idx="119">
                  <c:v>78</c:v>
                </c:pt>
                <c:pt idx="120">
                  <c:v>45</c:v>
                </c:pt>
                <c:pt idx="121">
                  <c:v>31</c:v>
                </c:pt>
                <c:pt idx="122">
                  <c:v>60</c:v>
                </c:pt>
                <c:pt idx="123">
                  <c:v>71</c:v>
                </c:pt>
                <c:pt idx="124">
                  <c:v>41</c:v>
                </c:pt>
                <c:pt idx="125">
                  <c:v>66</c:v>
                </c:pt>
                <c:pt idx="126">
                  <c:v>54</c:v>
                </c:pt>
                <c:pt idx="127">
                  <c:v>34</c:v>
                </c:pt>
                <c:pt idx="128">
                  <c:v>40</c:v>
                </c:pt>
                <c:pt idx="129">
                  <c:v>57</c:v>
                </c:pt>
                <c:pt idx="130">
                  <c:v>46</c:v>
                </c:pt>
                <c:pt idx="131">
                  <c:v>55</c:v>
                </c:pt>
                <c:pt idx="132">
                  <c:v>39</c:v>
                </c:pt>
                <c:pt idx="133">
                  <c:v>50</c:v>
                </c:pt>
                <c:pt idx="134">
                  <c:v>24</c:v>
                </c:pt>
                <c:pt idx="135">
                  <c:v>15</c:v>
                </c:pt>
                <c:pt idx="136">
                  <c:v>45</c:v>
                </c:pt>
                <c:pt idx="137">
                  <c:v>40</c:v>
                </c:pt>
                <c:pt idx="138">
                  <c:v>30</c:v>
                </c:pt>
                <c:pt idx="139">
                  <c:v>30</c:v>
                </c:pt>
                <c:pt idx="140">
                  <c:v>33</c:v>
                </c:pt>
                <c:pt idx="141">
                  <c:v>19</c:v>
                </c:pt>
                <c:pt idx="142">
                  <c:v>11</c:v>
                </c:pt>
                <c:pt idx="143">
                  <c:v>29</c:v>
                </c:pt>
                <c:pt idx="144">
                  <c:v>25</c:v>
                </c:pt>
                <c:pt idx="145">
                  <c:v>23</c:v>
                </c:pt>
                <c:pt idx="146">
                  <c:v>16</c:v>
                </c:pt>
                <c:pt idx="147">
                  <c:v>22</c:v>
                </c:pt>
                <c:pt idx="148">
                  <c:v>20</c:v>
                </c:pt>
                <c:pt idx="149">
                  <c:v>15</c:v>
                </c:pt>
                <c:pt idx="150">
                  <c:v>27</c:v>
                </c:pt>
                <c:pt idx="151">
                  <c:v>27</c:v>
                </c:pt>
                <c:pt idx="152">
                  <c:v>21</c:v>
                </c:pt>
                <c:pt idx="153">
                  <c:v>22</c:v>
                </c:pt>
                <c:pt idx="154">
                  <c:v>4</c:v>
                </c:pt>
                <c:pt idx="155">
                  <c:v>11</c:v>
                </c:pt>
                <c:pt idx="156">
                  <c:v>8</c:v>
                </c:pt>
                <c:pt idx="157">
                  <c:v>24</c:v>
                </c:pt>
                <c:pt idx="158">
                  <c:v>32</c:v>
                </c:pt>
                <c:pt idx="159">
                  <c:v>23</c:v>
                </c:pt>
                <c:pt idx="160">
                  <c:v>20</c:v>
                </c:pt>
                <c:pt idx="161">
                  <c:v>18</c:v>
                </c:pt>
                <c:pt idx="162">
                  <c:v>7</c:v>
                </c:pt>
                <c:pt idx="163">
                  <c:v>24</c:v>
                </c:pt>
                <c:pt idx="164">
                  <c:v>33</c:v>
                </c:pt>
                <c:pt idx="165">
                  <c:v>26</c:v>
                </c:pt>
                <c:pt idx="166">
                  <c:v>20</c:v>
                </c:pt>
                <c:pt idx="167">
                  <c:v>25</c:v>
                </c:pt>
                <c:pt idx="168">
                  <c:v>18</c:v>
                </c:pt>
                <c:pt idx="169">
                  <c:v>17</c:v>
                </c:pt>
                <c:pt idx="170">
                  <c:v>13</c:v>
                </c:pt>
                <c:pt idx="171">
                  <c:v>32</c:v>
                </c:pt>
                <c:pt idx="172">
                  <c:v>46</c:v>
                </c:pt>
                <c:pt idx="173">
                  <c:v>70</c:v>
                </c:pt>
                <c:pt idx="174">
                  <c:v>39</c:v>
                </c:pt>
                <c:pt idx="175">
                  <c:v>45</c:v>
                </c:pt>
                <c:pt idx="176">
                  <c:v>31</c:v>
                </c:pt>
                <c:pt idx="177">
                  <c:v>40</c:v>
                </c:pt>
                <c:pt idx="178">
                  <c:v>108</c:v>
                </c:pt>
                <c:pt idx="179">
                  <c:v>86</c:v>
                </c:pt>
                <c:pt idx="180">
                  <c:v>111</c:v>
                </c:pt>
                <c:pt idx="181">
                  <c:v>106</c:v>
                </c:pt>
                <c:pt idx="182">
                  <c:v>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6.9898053688695042E-8"/>
                  <c:y val="-2.331186538060957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244118952507763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23.07.21</c:v>
                </c:pt>
                <c:pt idx="1">
                  <c:v>24.07.21</c:v>
                </c:pt>
                <c:pt idx="2">
                  <c:v>25.07.21</c:v>
                </c:pt>
                <c:pt idx="3">
                  <c:v>26.07.21</c:v>
                </c:pt>
                <c:pt idx="4">
                  <c:v>27.07.21</c:v>
                </c:pt>
                <c:pt idx="5">
                  <c:v>28.07.21</c:v>
                </c:pt>
                <c:pt idx="6">
                  <c:v>29.07.21</c:v>
                </c:pt>
                <c:pt idx="7">
                  <c:v>30.07.21</c:v>
                </c:pt>
                <c:pt idx="8">
                  <c:v>31.07.21</c:v>
                </c:pt>
                <c:pt idx="9">
                  <c:v>01.08.21</c:v>
                </c:pt>
                <c:pt idx="10">
                  <c:v>02.08.21</c:v>
                </c:pt>
                <c:pt idx="11">
                  <c:v>03.08.21</c:v>
                </c:pt>
                <c:pt idx="12">
                  <c:v>04.08.21</c:v>
                </c:pt>
                <c:pt idx="13">
                  <c:v>05.08.21</c:v>
                </c:pt>
                <c:pt idx="14">
                  <c:v>06.08.21</c:v>
                </c:pt>
                <c:pt idx="15">
                  <c:v>07.08.21</c:v>
                </c:pt>
                <c:pt idx="16">
                  <c:v>08.08.21</c:v>
                </c:pt>
                <c:pt idx="17">
                  <c:v>09.08.21</c:v>
                </c:pt>
                <c:pt idx="18">
                  <c:v>10.08.21</c:v>
                </c:pt>
                <c:pt idx="19">
                  <c:v>11.08.21</c:v>
                </c:pt>
                <c:pt idx="20">
                  <c:v>12.08.21</c:v>
                </c:pt>
                <c:pt idx="21">
                  <c:v>13.08.21</c:v>
                </c:pt>
                <c:pt idx="22">
                  <c:v>14.08.21</c:v>
                </c:pt>
                <c:pt idx="23">
                  <c:v>15.08.21</c:v>
                </c:pt>
                <c:pt idx="24">
                  <c:v>16.08.21</c:v>
                </c:pt>
                <c:pt idx="25">
                  <c:v>17.08.21</c:v>
                </c:pt>
                <c:pt idx="26">
                  <c:v>18.08.21</c:v>
                </c:pt>
                <c:pt idx="27">
                  <c:v>19.08.21</c:v>
                </c:pt>
                <c:pt idx="28">
                  <c:v>20.08.21</c:v>
                </c:pt>
                <c:pt idx="29">
                  <c:v>21.08.21</c:v>
                </c:pt>
                <c:pt idx="30">
                  <c:v>22.08.21</c:v>
                </c:pt>
                <c:pt idx="31">
                  <c:v>23.08.21</c:v>
                </c:pt>
                <c:pt idx="32">
                  <c:v>24.08.21</c:v>
                </c:pt>
                <c:pt idx="33">
                  <c:v>25.08.21</c:v>
                </c:pt>
                <c:pt idx="34">
                  <c:v>26.08.21</c:v>
                </c:pt>
                <c:pt idx="35">
                  <c:v>27.08.21</c:v>
                </c:pt>
                <c:pt idx="36">
                  <c:v>28.08.21</c:v>
                </c:pt>
                <c:pt idx="37">
                  <c:v>29.08.21</c:v>
                </c:pt>
                <c:pt idx="38">
                  <c:v>30.08.21</c:v>
                </c:pt>
                <c:pt idx="39">
                  <c:v>31.08.21</c:v>
                </c:pt>
                <c:pt idx="40">
                  <c:v>01.09.21</c:v>
                </c:pt>
                <c:pt idx="41">
                  <c:v>02.09.21</c:v>
                </c:pt>
                <c:pt idx="42">
                  <c:v>03.09.21</c:v>
                </c:pt>
                <c:pt idx="43">
                  <c:v>04.09.21</c:v>
                </c:pt>
                <c:pt idx="44">
                  <c:v>05.09.21</c:v>
                </c:pt>
                <c:pt idx="45">
                  <c:v>06.09.21</c:v>
                </c:pt>
                <c:pt idx="46">
                  <c:v>07.09.21</c:v>
                </c:pt>
                <c:pt idx="47">
                  <c:v>08.09.21</c:v>
                </c:pt>
                <c:pt idx="48">
                  <c:v>09.09.21</c:v>
                </c:pt>
                <c:pt idx="49">
                  <c:v>10.09.21</c:v>
                </c:pt>
                <c:pt idx="50">
                  <c:v>11.09.21</c:v>
                </c:pt>
                <c:pt idx="51">
                  <c:v>12.09.21</c:v>
                </c:pt>
                <c:pt idx="52">
                  <c:v>13.09.21</c:v>
                </c:pt>
                <c:pt idx="53">
                  <c:v>14.09.21</c:v>
                </c:pt>
                <c:pt idx="54">
                  <c:v>15.09.21</c:v>
                </c:pt>
                <c:pt idx="55">
                  <c:v>16.09.21</c:v>
                </c:pt>
                <c:pt idx="56">
                  <c:v>17.09.21</c:v>
                </c:pt>
                <c:pt idx="57">
                  <c:v>18.09.21</c:v>
                </c:pt>
                <c:pt idx="58">
                  <c:v>19.09.21</c:v>
                </c:pt>
                <c:pt idx="59">
                  <c:v>20.09.21</c:v>
                </c:pt>
                <c:pt idx="60">
                  <c:v>21.09.21</c:v>
                </c:pt>
                <c:pt idx="61">
                  <c:v>22.09.21</c:v>
                </c:pt>
                <c:pt idx="62">
                  <c:v>23.09.21</c:v>
                </c:pt>
                <c:pt idx="63">
                  <c:v>24.09.21</c:v>
                </c:pt>
                <c:pt idx="64">
                  <c:v>25.09.21</c:v>
                </c:pt>
                <c:pt idx="65">
                  <c:v>26.09.21</c:v>
                </c:pt>
                <c:pt idx="66">
                  <c:v>27.09.21</c:v>
                </c:pt>
                <c:pt idx="67">
                  <c:v>28.09.21</c:v>
                </c:pt>
                <c:pt idx="68">
                  <c:v>29.09.21</c:v>
                </c:pt>
                <c:pt idx="69">
                  <c:v>30.09.21</c:v>
                </c:pt>
                <c:pt idx="70">
                  <c:v>01.10.21</c:v>
                </c:pt>
                <c:pt idx="71">
                  <c:v>02.10.21</c:v>
                </c:pt>
                <c:pt idx="72">
                  <c:v>03.10.21</c:v>
                </c:pt>
                <c:pt idx="73">
                  <c:v>04.10.21</c:v>
                </c:pt>
                <c:pt idx="74">
                  <c:v>05.10.21</c:v>
                </c:pt>
                <c:pt idx="75">
                  <c:v>06.10.21</c:v>
                </c:pt>
                <c:pt idx="76">
                  <c:v>07.10.21</c:v>
                </c:pt>
                <c:pt idx="77">
                  <c:v>08.10.21</c:v>
                </c:pt>
                <c:pt idx="78">
                  <c:v>09.10.21</c:v>
                </c:pt>
                <c:pt idx="79">
                  <c:v>10.10.21</c:v>
                </c:pt>
                <c:pt idx="80">
                  <c:v>11.10.21</c:v>
                </c:pt>
                <c:pt idx="81">
                  <c:v>12.10.21</c:v>
                </c:pt>
                <c:pt idx="82">
                  <c:v>13.10.21</c:v>
                </c:pt>
                <c:pt idx="83">
                  <c:v>14.10.21</c:v>
                </c:pt>
                <c:pt idx="84">
                  <c:v>15.10.21</c:v>
                </c:pt>
                <c:pt idx="85">
                  <c:v>16.10.21</c:v>
                </c:pt>
                <c:pt idx="86">
                  <c:v>17.10.21</c:v>
                </c:pt>
                <c:pt idx="87">
                  <c:v>18.10.21</c:v>
                </c:pt>
                <c:pt idx="88">
                  <c:v>19.10.21</c:v>
                </c:pt>
                <c:pt idx="89">
                  <c:v>20.10.21</c:v>
                </c:pt>
                <c:pt idx="90">
                  <c:v>21.10.21</c:v>
                </c:pt>
                <c:pt idx="91">
                  <c:v>22.10.21</c:v>
                </c:pt>
                <c:pt idx="92">
                  <c:v>23.10.21</c:v>
                </c:pt>
                <c:pt idx="93">
                  <c:v>24.10.21</c:v>
                </c:pt>
                <c:pt idx="94">
                  <c:v>25.10.21</c:v>
                </c:pt>
                <c:pt idx="95">
                  <c:v>26.10.21</c:v>
                </c:pt>
                <c:pt idx="96">
                  <c:v>27.10.21</c:v>
                </c:pt>
                <c:pt idx="97">
                  <c:v>28.10.21</c:v>
                </c:pt>
                <c:pt idx="98">
                  <c:v>29.10.21</c:v>
                </c:pt>
                <c:pt idx="99">
                  <c:v>30.10.21</c:v>
                </c:pt>
                <c:pt idx="100">
                  <c:v>31.10.21</c:v>
                </c:pt>
                <c:pt idx="101">
                  <c:v>01.11.21</c:v>
                </c:pt>
                <c:pt idx="102">
                  <c:v>02.11.21</c:v>
                </c:pt>
                <c:pt idx="103">
                  <c:v>03.11.21</c:v>
                </c:pt>
                <c:pt idx="104">
                  <c:v>04.11.21</c:v>
                </c:pt>
                <c:pt idx="105">
                  <c:v>05.11.21</c:v>
                </c:pt>
                <c:pt idx="106">
                  <c:v>06.11.21</c:v>
                </c:pt>
                <c:pt idx="107">
                  <c:v>07.11.21</c:v>
                </c:pt>
                <c:pt idx="108">
                  <c:v>08.11.21</c:v>
                </c:pt>
                <c:pt idx="109">
                  <c:v>09.11.21</c:v>
                </c:pt>
                <c:pt idx="110">
                  <c:v>10.11.21</c:v>
                </c:pt>
                <c:pt idx="111">
                  <c:v>11.11.21</c:v>
                </c:pt>
                <c:pt idx="112">
                  <c:v>12.11.21</c:v>
                </c:pt>
                <c:pt idx="113">
                  <c:v>13.11.21</c:v>
                </c:pt>
                <c:pt idx="114">
                  <c:v>14.11.21</c:v>
                </c:pt>
                <c:pt idx="115">
                  <c:v>15.11.21</c:v>
                </c:pt>
                <c:pt idx="116">
                  <c:v>16.11.21</c:v>
                </c:pt>
                <c:pt idx="117">
                  <c:v>17.11.21</c:v>
                </c:pt>
                <c:pt idx="118">
                  <c:v>18.11.21</c:v>
                </c:pt>
                <c:pt idx="119">
                  <c:v>19.11.21</c:v>
                </c:pt>
                <c:pt idx="120">
                  <c:v>20.11.21</c:v>
                </c:pt>
                <c:pt idx="121">
                  <c:v>21.11.21</c:v>
                </c:pt>
                <c:pt idx="122">
                  <c:v>22.11.21</c:v>
                </c:pt>
                <c:pt idx="123">
                  <c:v>23.11.21</c:v>
                </c:pt>
                <c:pt idx="124">
                  <c:v>24.11.21</c:v>
                </c:pt>
                <c:pt idx="125">
                  <c:v>25.11.21</c:v>
                </c:pt>
                <c:pt idx="126">
                  <c:v>26.11.21</c:v>
                </c:pt>
                <c:pt idx="127">
                  <c:v>27.11.21</c:v>
                </c:pt>
                <c:pt idx="128">
                  <c:v>28.11.21</c:v>
                </c:pt>
                <c:pt idx="129">
                  <c:v>29.11.21</c:v>
                </c:pt>
                <c:pt idx="130">
                  <c:v>30.11.21</c:v>
                </c:pt>
                <c:pt idx="131">
                  <c:v>01.12.21</c:v>
                </c:pt>
                <c:pt idx="132">
                  <c:v>02.12.21</c:v>
                </c:pt>
                <c:pt idx="133">
                  <c:v>03.12.21</c:v>
                </c:pt>
                <c:pt idx="134">
                  <c:v>04.12.21</c:v>
                </c:pt>
                <c:pt idx="135">
                  <c:v>05.12.21</c:v>
                </c:pt>
                <c:pt idx="136">
                  <c:v>06.12.21</c:v>
                </c:pt>
                <c:pt idx="137">
                  <c:v>07.12.21</c:v>
                </c:pt>
                <c:pt idx="138">
                  <c:v>08.12.21</c:v>
                </c:pt>
                <c:pt idx="139">
                  <c:v>09.12.21</c:v>
                </c:pt>
                <c:pt idx="140">
                  <c:v>10.12.21</c:v>
                </c:pt>
                <c:pt idx="141">
                  <c:v>11.12.21</c:v>
                </c:pt>
                <c:pt idx="142">
                  <c:v>12.12.21</c:v>
                </c:pt>
                <c:pt idx="143">
                  <c:v>13.12.21</c:v>
                </c:pt>
                <c:pt idx="144">
                  <c:v>14.12.21</c:v>
                </c:pt>
                <c:pt idx="145">
                  <c:v>15.12.21</c:v>
                </c:pt>
                <c:pt idx="146">
                  <c:v>16.12.21</c:v>
                </c:pt>
                <c:pt idx="147">
                  <c:v>17.12.21</c:v>
                </c:pt>
                <c:pt idx="148">
                  <c:v>18.12.21</c:v>
                </c:pt>
                <c:pt idx="149">
                  <c:v>19.12.21</c:v>
                </c:pt>
                <c:pt idx="150">
                  <c:v>20.12.21</c:v>
                </c:pt>
                <c:pt idx="151">
                  <c:v>21.12.21</c:v>
                </c:pt>
                <c:pt idx="152">
                  <c:v>22.12.21</c:v>
                </c:pt>
                <c:pt idx="153">
                  <c:v>23.12.21</c:v>
                </c:pt>
                <c:pt idx="154">
                  <c:v>24.12.21</c:v>
                </c:pt>
                <c:pt idx="155">
                  <c:v>25.12.21</c:v>
                </c:pt>
                <c:pt idx="156">
                  <c:v>26.12.21</c:v>
                </c:pt>
                <c:pt idx="157">
                  <c:v>27.12.21</c:v>
                </c:pt>
                <c:pt idx="158">
                  <c:v>28.12.21</c:v>
                </c:pt>
                <c:pt idx="159">
                  <c:v>29.12.21</c:v>
                </c:pt>
                <c:pt idx="160">
                  <c:v>30.12.21</c:v>
                </c:pt>
                <c:pt idx="161">
                  <c:v>31.12.21</c:v>
                </c:pt>
                <c:pt idx="162">
                  <c:v>01.01.22</c:v>
                </c:pt>
                <c:pt idx="163">
                  <c:v>02.01.22</c:v>
                </c:pt>
                <c:pt idx="164">
                  <c:v>03.01.22</c:v>
                </c:pt>
                <c:pt idx="165">
                  <c:v>04.01.22</c:v>
                </c:pt>
                <c:pt idx="166">
                  <c:v>05.01.22</c:v>
                </c:pt>
                <c:pt idx="167">
                  <c:v>06.01.22</c:v>
                </c:pt>
                <c:pt idx="168">
                  <c:v>07.01.22</c:v>
                </c:pt>
                <c:pt idx="169">
                  <c:v>08.01.22</c:v>
                </c:pt>
                <c:pt idx="170">
                  <c:v>09.01.22</c:v>
                </c:pt>
                <c:pt idx="171">
                  <c:v>10.01.22</c:v>
                </c:pt>
                <c:pt idx="172">
                  <c:v>11.01.22</c:v>
                </c:pt>
                <c:pt idx="173">
                  <c:v>12.01.22</c:v>
                </c:pt>
                <c:pt idx="174">
                  <c:v>13.01.22</c:v>
                </c:pt>
                <c:pt idx="175">
                  <c:v>14.01.22</c:v>
                </c:pt>
                <c:pt idx="176">
                  <c:v>15.01.22</c:v>
                </c:pt>
                <c:pt idx="177">
                  <c:v>16.01.22</c:v>
                </c:pt>
                <c:pt idx="178">
                  <c:v>17.01.22</c:v>
                </c:pt>
                <c:pt idx="179">
                  <c:v>18.01.22</c:v>
                </c:pt>
                <c:pt idx="180">
                  <c:v>19.01.22</c:v>
                </c:pt>
                <c:pt idx="181">
                  <c:v>20.01.22</c:v>
                </c:pt>
                <c:pt idx="182">
                  <c:v>21.01.22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4</c:v>
                </c:pt>
                <c:pt idx="1">
                  <c:v>1</c:v>
                </c:pt>
                <c:pt idx="2">
                  <c:v>1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2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1</c:v>
                </c:pt>
                <c:pt idx="21">
                  <c:v>2</c:v>
                </c:pt>
                <c:pt idx="22">
                  <c:v>3</c:v>
                </c:pt>
                <c:pt idx="23">
                  <c:v>1</c:v>
                </c:pt>
                <c:pt idx="24">
                  <c:v>3</c:v>
                </c:pt>
                <c:pt idx="25">
                  <c:v>3</c:v>
                </c:pt>
                <c:pt idx="26">
                  <c:v>2</c:v>
                </c:pt>
                <c:pt idx="27">
                  <c:v>1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4</c:v>
                </c:pt>
                <c:pt idx="32">
                  <c:v>2</c:v>
                </c:pt>
                <c:pt idx="33">
                  <c:v>0</c:v>
                </c:pt>
                <c:pt idx="34">
                  <c:v>2</c:v>
                </c:pt>
                <c:pt idx="35">
                  <c:v>1</c:v>
                </c:pt>
                <c:pt idx="36">
                  <c:v>2</c:v>
                </c:pt>
                <c:pt idx="37">
                  <c:v>1</c:v>
                </c:pt>
                <c:pt idx="38">
                  <c:v>0</c:v>
                </c:pt>
                <c:pt idx="39">
                  <c:v>2</c:v>
                </c:pt>
                <c:pt idx="40">
                  <c:v>1</c:v>
                </c:pt>
                <c:pt idx="41">
                  <c:v>5</c:v>
                </c:pt>
                <c:pt idx="42">
                  <c:v>6</c:v>
                </c:pt>
                <c:pt idx="43">
                  <c:v>1</c:v>
                </c:pt>
                <c:pt idx="44">
                  <c:v>0</c:v>
                </c:pt>
                <c:pt idx="45">
                  <c:v>2</c:v>
                </c:pt>
                <c:pt idx="46">
                  <c:v>6</c:v>
                </c:pt>
                <c:pt idx="47">
                  <c:v>1</c:v>
                </c:pt>
                <c:pt idx="48">
                  <c:v>4</c:v>
                </c:pt>
                <c:pt idx="49">
                  <c:v>0</c:v>
                </c:pt>
                <c:pt idx="50">
                  <c:v>1</c:v>
                </c:pt>
                <c:pt idx="51">
                  <c:v>2</c:v>
                </c:pt>
                <c:pt idx="52">
                  <c:v>3</c:v>
                </c:pt>
                <c:pt idx="53">
                  <c:v>4</c:v>
                </c:pt>
                <c:pt idx="54">
                  <c:v>3</c:v>
                </c:pt>
                <c:pt idx="55">
                  <c:v>7</c:v>
                </c:pt>
                <c:pt idx="56">
                  <c:v>5</c:v>
                </c:pt>
                <c:pt idx="57">
                  <c:v>2</c:v>
                </c:pt>
                <c:pt idx="58">
                  <c:v>2</c:v>
                </c:pt>
                <c:pt idx="59">
                  <c:v>10</c:v>
                </c:pt>
                <c:pt idx="60">
                  <c:v>7</c:v>
                </c:pt>
                <c:pt idx="61">
                  <c:v>6</c:v>
                </c:pt>
                <c:pt idx="62">
                  <c:v>5</c:v>
                </c:pt>
                <c:pt idx="63">
                  <c:v>7</c:v>
                </c:pt>
                <c:pt idx="64">
                  <c:v>6</c:v>
                </c:pt>
                <c:pt idx="65">
                  <c:v>6</c:v>
                </c:pt>
                <c:pt idx="66">
                  <c:v>5</c:v>
                </c:pt>
                <c:pt idx="67">
                  <c:v>7</c:v>
                </c:pt>
                <c:pt idx="68">
                  <c:v>12</c:v>
                </c:pt>
                <c:pt idx="69">
                  <c:v>15</c:v>
                </c:pt>
                <c:pt idx="70">
                  <c:v>7</c:v>
                </c:pt>
                <c:pt idx="71">
                  <c:v>5</c:v>
                </c:pt>
                <c:pt idx="72">
                  <c:v>8</c:v>
                </c:pt>
                <c:pt idx="73">
                  <c:v>10</c:v>
                </c:pt>
                <c:pt idx="74">
                  <c:v>12</c:v>
                </c:pt>
                <c:pt idx="75">
                  <c:v>9</c:v>
                </c:pt>
                <c:pt idx="76">
                  <c:v>8</c:v>
                </c:pt>
                <c:pt idx="77">
                  <c:v>9</c:v>
                </c:pt>
                <c:pt idx="78">
                  <c:v>5</c:v>
                </c:pt>
                <c:pt idx="79">
                  <c:v>4</c:v>
                </c:pt>
                <c:pt idx="80">
                  <c:v>17</c:v>
                </c:pt>
                <c:pt idx="81">
                  <c:v>17</c:v>
                </c:pt>
                <c:pt idx="82">
                  <c:v>20</c:v>
                </c:pt>
                <c:pt idx="83">
                  <c:v>19</c:v>
                </c:pt>
                <c:pt idx="84">
                  <c:v>17</c:v>
                </c:pt>
                <c:pt idx="85">
                  <c:v>10</c:v>
                </c:pt>
                <c:pt idx="86">
                  <c:v>10</c:v>
                </c:pt>
                <c:pt idx="87">
                  <c:v>32</c:v>
                </c:pt>
                <c:pt idx="88">
                  <c:v>25</c:v>
                </c:pt>
                <c:pt idx="89">
                  <c:v>24</c:v>
                </c:pt>
                <c:pt idx="90">
                  <c:v>49</c:v>
                </c:pt>
                <c:pt idx="91">
                  <c:v>38</c:v>
                </c:pt>
                <c:pt idx="92">
                  <c:v>31</c:v>
                </c:pt>
                <c:pt idx="93">
                  <c:v>11</c:v>
                </c:pt>
                <c:pt idx="94">
                  <c:v>58</c:v>
                </c:pt>
                <c:pt idx="95">
                  <c:v>63</c:v>
                </c:pt>
                <c:pt idx="96">
                  <c:v>71</c:v>
                </c:pt>
                <c:pt idx="97">
                  <c:v>32</c:v>
                </c:pt>
                <c:pt idx="98">
                  <c:v>76</c:v>
                </c:pt>
                <c:pt idx="99">
                  <c:v>56</c:v>
                </c:pt>
                <c:pt idx="100">
                  <c:v>37</c:v>
                </c:pt>
                <c:pt idx="101">
                  <c:v>103</c:v>
                </c:pt>
                <c:pt idx="102">
                  <c:v>100</c:v>
                </c:pt>
                <c:pt idx="103">
                  <c:v>107</c:v>
                </c:pt>
                <c:pt idx="104">
                  <c:v>95</c:v>
                </c:pt>
                <c:pt idx="105">
                  <c:v>107</c:v>
                </c:pt>
                <c:pt idx="106">
                  <c:v>78</c:v>
                </c:pt>
                <c:pt idx="107">
                  <c:v>25</c:v>
                </c:pt>
                <c:pt idx="108">
                  <c:v>120</c:v>
                </c:pt>
                <c:pt idx="109">
                  <c:v>133</c:v>
                </c:pt>
                <c:pt idx="110">
                  <c:v>164</c:v>
                </c:pt>
                <c:pt idx="111">
                  <c:v>91</c:v>
                </c:pt>
                <c:pt idx="112">
                  <c:v>150</c:v>
                </c:pt>
                <c:pt idx="113">
                  <c:v>86</c:v>
                </c:pt>
                <c:pt idx="114">
                  <c:v>52</c:v>
                </c:pt>
                <c:pt idx="115">
                  <c:v>148</c:v>
                </c:pt>
                <c:pt idx="116">
                  <c:v>214</c:v>
                </c:pt>
                <c:pt idx="117">
                  <c:v>106</c:v>
                </c:pt>
                <c:pt idx="118">
                  <c:v>152</c:v>
                </c:pt>
                <c:pt idx="119">
                  <c:v>213</c:v>
                </c:pt>
                <c:pt idx="120">
                  <c:v>145</c:v>
                </c:pt>
                <c:pt idx="121">
                  <c:v>78</c:v>
                </c:pt>
                <c:pt idx="122">
                  <c:v>181</c:v>
                </c:pt>
                <c:pt idx="123">
                  <c:v>239</c:v>
                </c:pt>
                <c:pt idx="124">
                  <c:v>129</c:v>
                </c:pt>
                <c:pt idx="125">
                  <c:v>197</c:v>
                </c:pt>
                <c:pt idx="126">
                  <c:v>177</c:v>
                </c:pt>
                <c:pt idx="127">
                  <c:v>99</c:v>
                </c:pt>
                <c:pt idx="128">
                  <c:v>74</c:v>
                </c:pt>
                <c:pt idx="129">
                  <c:v>187</c:v>
                </c:pt>
                <c:pt idx="130">
                  <c:v>149</c:v>
                </c:pt>
                <c:pt idx="131">
                  <c:v>155</c:v>
                </c:pt>
                <c:pt idx="132">
                  <c:v>133</c:v>
                </c:pt>
                <c:pt idx="133">
                  <c:v>127</c:v>
                </c:pt>
                <c:pt idx="134">
                  <c:v>79</c:v>
                </c:pt>
                <c:pt idx="135">
                  <c:v>59</c:v>
                </c:pt>
                <c:pt idx="136">
                  <c:v>150</c:v>
                </c:pt>
                <c:pt idx="137">
                  <c:v>143</c:v>
                </c:pt>
                <c:pt idx="138">
                  <c:v>108</c:v>
                </c:pt>
                <c:pt idx="139">
                  <c:v>118</c:v>
                </c:pt>
                <c:pt idx="140">
                  <c:v>104</c:v>
                </c:pt>
                <c:pt idx="141">
                  <c:v>70</c:v>
                </c:pt>
                <c:pt idx="142">
                  <c:v>50</c:v>
                </c:pt>
                <c:pt idx="143">
                  <c:v>95</c:v>
                </c:pt>
                <c:pt idx="144">
                  <c:v>113</c:v>
                </c:pt>
                <c:pt idx="145">
                  <c:v>77</c:v>
                </c:pt>
                <c:pt idx="146">
                  <c:v>60</c:v>
                </c:pt>
                <c:pt idx="147">
                  <c:v>71</c:v>
                </c:pt>
                <c:pt idx="148">
                  <c:v>45</c:v>
                </c:pt>
                <c:pt idx="149">
                  <c:v>29</c:v>
                </c:pt>
                <c:pt idx="150">
                  <c:v>82</c:v>
                </c:pt>
                <c:pt idx="151">
                  <c:v>74</c:v>
                </c:pt>
                <c:pt idx="152">
                  <c:v>50</c:v>
                </c:pt>
                <c:pt idx="153">
                  <c:v>55</c:v>
                </c:pt>
                <c:pt idx="154">
                  <c:v>17</c:v>
                </c:pt>
                <c:pt idx="155">
                  <c:v>18</c:v>
                </c:pt>
                <c:pt idx="156">
                  <c:v>16</c:v>
                </c:pt>
                <c:pt idx="157">
                  <c:v>71</c:v>
                </c:pt>
                <c:pt idx="158">
                  <c:v>84</c:v>
                </c:pt>
                <c:pt idx="159">
                  <c:v>50</c:v>
                </c:pt>
                <c:pt idx="160">
                  <c:v>46</c:v>
                </c:pt>
                <c:pt idx="161">
                  <c:v>43</c:v>
                </c:pt>
                <c:pt idx="162">
                  <c:v>10</c:v>
                </c:pt>
                <c:pt idx="163">
                  <c:v>33</c:v>
                </c:pt>
                <c:pt idx="164">
                  <c:v>80</c:v>
                </c:pt>
                <c:pt idx="165">
                  <c:v>66</c:v>
                </c:pt>
                <c:pt idx="166">
                  <c:v>44</c:v>
                </c:pt>
                <c:pt idx="167">
                  <c:v>49</c:v>
                </c:pt>
                <c:pt idx="168">
                  <c:v>56</c:v>
                </c:pt>
                <c:pt idx="169">
                  <c:v>32</c:v>
                </c:pt>
                <c:pt idx="170">
                  <c:v>22</c:v>
                </c:pt>
                <c:pt idx="171">
                  <c:v>58</c:v>
                </c:pt>
                <c:pt idx="172">
                  <c:v>88</c:v>
                </c:pt>
                <c:pt idx="173">
                  <c:v>81</c:v>
                </c:pt>
                <c:pt idx="174">
                  <c:v>76</c:v>
                </c:pt>
                <c:pt idx="175">
                  <c:v>78</c:v>
                </c:pt>
                <c:pt idx="176">
                  <c:v>74</c:v>
                </c:pt>
                <c:pt idx="177">
                  <c:v>45</c:v>
                </c:pt>
                <c:pt idx="178">
                  <c:v>180</c:v>
                </c:pt>
                <c:pt idx="179">
                  <c:v>199</c:v>
                </c:pt>
                <c:pt idx="180">
                  <c:v>185</c:v>
                </c:pt>
                <c:pt idx="181">
                  <c:v>205</c:v>
                </c:pt>
                <c:pt idx="182">
                  <c:v>2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-5.128803127217132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A6A6A6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23.07.21</c:v>
                </c:pt>
                <c:pt idx="1">
                  <c:v>24.07.21</c:v>
                </c:pt>
                <c:pt idx="2">
                  <c:v>25.07.21</c:v>
                </c:pt>
                <c:pt idx="3">
                  <c:v>26.07.21</c:v>
                </c:pt>
                <c:pt idx="4">
                  <c:v>27.07.21</c:v>
                </c:pt>
                <c:pt idx="5">
                  <c:v>28.07.21</c:v>
                </c:pt>
                <c:pt idx="6">
                  <c:v>29.07.21</c:v>
                </c:pt>
                <c:pt idx="7">
                  <c:v>30.07.21</c:v>
                </c:pt>
                <c:pt idx="8">
                  <c:v>31.07.21</c:v>
                </c:pt>
                <c:pt idx="9">
                  <c:v>01.08.21</c:v>
                </c:pt>
                <c:pt idx="10">
                  <c:v>02.08.21</c:v>
                </c:pt>
                <c:pt idx="11">
                  <c:v>03.08.21</c:v>
                </c:pt>
                <c:pt idx="12">
                  <c:v>04.08.21</c:v>
                </c:pt>
                <c:pt idx="13">
                  <c:v>05.08.21</c:v>
                </c:pt>
                <c:pt idx="14">
                  <c:v>06.08.21</c:v>
                </c:pt>
                <c:pt idx="15">
                  <c:v>07.08.21</c:v>
                </c:pt>
                <c:pt idx="16">
                  <c:v>08.08.21</c:v>
                </c:pt>
                <c:pt idx="17">
                  <c:v>09.08.21</c:v>
                </c:pt>
                <c:pt idx="18">
                  <c:v>10.08.21</c:v>
                </c:pt>
                <c:pt idx="19">
                  <c:v>11.08.21</c:v>
                </c:pt>
                <c:pt idx="20">
                  <c:v>12.08.21</c:v>
                </c:pt>
                <c:pt idx="21">
                  <c:v>13.08.21</c:v>
                </c:pt>
                <c:pt idx="22">
                  <c:v>14.08.21</c:v>
                </c:pt>
                <c:pt idx="23">
                  <c:v>15.08.21</c:v>
                </c:pt>
                <c:pt idx="24">
                  <c:v>16.08.21</c:v>
                </c:pt>
                <c:pt idx="25">
                  <c:v>17.08.21</c:v>
                </c:pt>
                <c:pt idx="26">
                  <c:v>18.08.21</c:v>
                </c:pt>
                <c:pt idx="27">
                  <c:v>19.08.21</c:v>
                </c:pt>
                <c:pt idx="28">
                  <c:v>20.08.21</c:v>
                </c:pt>
                <c:pt idx="29">
                  <c:v>21.08.21</c:v>
                </c:pt>
                <c:pt idx="30">
                  <c:v>22.08.21</c:v>
                </c:pt>
                <c:pt idx="31">
                  <c:v>23.08.21</c:v>
                </c:pt>
                <c:pt idx="32">
                  <c:v>24.08.21</c:v>
                </c:pt>
                <c:pt idx="33">
                  <c:v>25.08.21</c:v>
                </c:pt>
                <c:pt idx="34">
                  <c:v>26.08.21</c:v>
                </c:pt>
                <c:pt idx="35">
                  <c:v>27.08.21</c:v>
                </c:pt>
                <c:pt idx="36">
                  <c:v>28.08.21</c:v>
                </c:pt>
                <c:pt idx="37">
                  <c:v>29.08.21</c:v>
                </c:pt>
                <c:pt idx="38">
                  <c:v>30.08.21</c:v>
                </c:pt>
                <c:pt idx="39">
                  <c:v>31.08.21</c:v>
                </c:pt>
                <c:pt idx="40">
                  <c:v>01.09.21</c:v>
                </c:pt>
                <c:pt idx="41">
                  <c:v>02.09.21</c:v>
                </c:pt>
                <c:pt idx="42">
                  <c:v>03.09.21</c:v>
                </c:pt>
                <c:pt idx="43">
                  <c:v>04.09.21</c:v>
                </c:pt>
                <c:pt idx="44">
                  <c:v>05.09.21</c:v>
                </c:pt>
                <c:pt idx="45">
                  <c:v>06.09.21</c:v>
                </c:pt>
                <c:pt idx="46">
                  <c:v>07.09.21</c:v>
                </c:pt>
                <c:pt idx="47">
                  <c:v>08.09.21</c:v>
                </c:pt>
                <c:pt idx="48">
                  <c:v>09.09.21</c:v>
                </c:pt>
                <c:pt idx="49">
                  <c:v>10.09.21</c:v>
                </c:pt>
                <c:pt idx="50">
                  <c:v>11.09.21</c:v>
                </c:pt>
                <c:pt idx="51">
                  <c:v>12.09.21</c:v>
                </c:pt>
                <c:pt idx="52">
                  <c:v>13.09.21</c:v>
                </c:pt>
                <c:pt idx="53">
                  <c:v>14.09.21</c:v>
                </c:pt>
                <c:pt idx="54">
                  <c:v>15.09.21</c:v>
                </c:pt>
                <c:pt idx="55">
                  <c:v>16.09.21</c:v>
                </c:pt>
                <c:pt idx="56">
                  <c:v>17.09.21</c:v>
                </c:pt>
                <c:pt idx="57">
                  <c:v>18.09.21</c:v>
                </c:pt>
                <c:pt idx="58">
                  <c:v>19.09.21</c:v>
                </c:pt>
                <c:pt idx="59">
                  <c:v>20.09.21</c:v>
                </c:pt>
                <c:pt idx="60">
                  <c:v>21.09.21</c:v>
                </c:pt>
                <c:pt idx="61">
                  <c:v>22.09.21</c:v>
                </c:pt>
                <c:pt idx="62">
                  <c:v>23.09.21</c:v>
                </c:pt>
                <c:pt idx="63">
                  <c:v>24.09.21</c:v>
                </c:pt>
                <c:pt idx="64">
                  <c:v>25.09.21</c:v>
                </c:pt>
                <c:pt idx="65">
                  <c:v>26.09.21</c:v>
                </c:pt>
                <c:pt idx="66">
                  <c:v>27.09.21</c:v>
                </c:pt>
                <c:pt idx="67">
                  <c:v>28.09.21</c:v>
                </c:pt>
                <c:pt idx="68">
                  <c:v>29.09.21</c:v>
                </c:pt>
                <c:pt idx="69">
                  <c:v>30.09.21</c:v>
                </c:pt>
                <c:pt idx="70">
                  <c:v>01.10.21</c:v>
                </c:pt>
                <c:pt idx="71">
                  <c:v>02.10.21</c:v>
                </c:pt>
                <c:pt idx="72">
                  <c:v>03.10.21</c:v>
                </c:pt>
                <c:pt idx="73">
                  <c:v>04.10.21</c:v>
                </c:pt>
                <c:pt idx="74">
                  <c:v>05.10.21</c:v>
                </c:pt>
                <c:pt idx="75">
                  <c:v>06.10.21</c:v>
                </c:pt>
                <c:pt idx="76">
                  <c:v>07.10.21</c:v>
                </c:pt>
                <c:pt idx="77">
                  <c:v>08.10.21</c:v>
                </c:pt>
                <c:pt idx="78">
                  <c:v>09.10.21</c:v>
                </c:pt>
                <c:pt idx="79">
                  <c:v>10.10.21</c:v>
                </c:pt>
                <c:pt idx="80">
                  <c:v>11.10.21</c:v>
                </c:pt>
                <c:pt idx="81">
                  <c:v>12.10.21</c:v>
                </c:pt>
                <c:pt idx="82">
                  <c:v>13.10.21</c:v>
                </c:pt>
                <c:pt idx="83">
                  <c:v>14.10.21</c:v>
                </c:pt>
                <c:pt idx="84">
                  <c:v>15.10.21</c:v>
                </c:pt>
                <c:pt idx="85">
                  <c:v>16.10.21</c:v>
                </c:pt>
                <c:pt idx="86">
                  <c:v>17.10.21</c:v>
                </c:pt>
                <c:pt idx="87">
                  <c:v>18.10.21</c:v>
                </c:pt>
                <c:pt idx="88">
                  <c:v>19.10.21</c:v>
                </c:pt>
                <c:pt idx="89">
                  <c:v>20.10.21</c:v>
                </c:pt>
                <c:pt idx="90">
                  <c:v>21.10.21</c:v>
                </c:pt>
                <c:pt idx="91">
                  <c:v>22.10.21</c:v>
                </c:pt>
                <c:pt idx="92">
                  <c:v>23.10.21</c:v>
                </c:pt>
                <c:pt idx="93">
                  <c:v>24.10.21</c:v>
                </c:pt>
                <c:pt idx="94">
                  <c:v>25.10.21</c:v>
                </c:pt>
                <c:pt idx="95">
                  <c:v>26.10.21</c:v>
                </c:pt>
                <c:pt idx="96">
                  <c:v>27.10.21</c:v>
                </c:pt>
                <c:pt idx="97">
                  <c:v>28.10.21</c:v>
                </c:pt>
                <c:pt idx="98">
                  <c:v>29.10.21</c:v>
                </c:pt>
                <c:pt idx="99">
                  <c:v>30.10.21</c:v>
                </c:pt>
                <c:pt idx="100">
                  <c:v>31.10.21</c:v>
                </c:pt>
                <c:pt idx="101">
                  <c:v>01.11.21</c:v>
                </c:pt>
                <c:pt idx="102">
                  <c:v>02.11.21</c:v>
                </c:pt>
                <c:pt idx="103">
                  <c:v>03.11.21</c:v>
                </c:pt>
                <c:pt idx="104">
                  <c:v>04.11.21</c:v>
                </c:pt>
                <c:pt idx="105">
                  <c:v>05.11.21</c:v>
                </c:pt>
                <c:pt idx="106">
                  <c:v>06.11.21</c:v>
                </c:pt>
                <c:pt idx="107">
                  <c:v>07.11.21</c:v>
                </c:pt>
                <c:pt idx="108">
                  <c:v>08.11.21</c:v>
                </c:pt>
                <c:pt idx="109">
                  <c:v>09.11.21</c:v>
                </c:pt>
                <c:pt idx="110">
                  <c:v>10.11.21</c:v>
                </c:pt>
                <c:pt idx="111">
                  <c:v>11.11.21</c:v>
                </c:pt>
                <c:pt idx="112">
                  <c:v>12.11.21</c:v>
                </c:pt>
                <c:pt idx="113">
                  <c:v>13.11.21</c:v>
                </c:pt>
                <c:pt idx="114">
                  <c:v>14.11.21</c:v>
                </c:pt>
                <c:pt idx="115">
                  <c:v>15.11.21</c:v>
                </c:pt>
                <c:pt idx="116">
                  <c:v>16.11.21</c:v>
                </c:pt>
                <c:pt idx="117">
                  <c:v>17.11.21</c:v>
                </c:pt>
                <c:pt idx="118">
                  <c:v>18.11.21</c:v>
                </c:pt>
                <c:pt idx="119">
                  <c:v>19.11.21</c:v>
                </c:pt>
                <c:pt idx="120">
                  <c:v>20.11.21</c:v>
                </c:pt>
                <c:pt idx="121">
                  <c:v>21.11.21</c:v>
                </c:pt>
                <c:pt idx="122">
                  <c:v>22.11.21</c:v>
                </c:pt>
                <c:pt idx="123">
                  <c:v>23.11.21</c:v>
                </c:pt>
                <c:pt idx="124">
                  <c:v>24.11.21</c:v>
                </c:pt>
                <c:pt idx="125">
                  <c:v>25.11.21</c:v>
                </c:pt>
                <c:pt idx="126">
                  <c:v>26.11.21</c:v>
                </c:pt>
                <c:pt idx="127">
                  <c:v>27.11.21</c:v>
                </c:pt>
                <c:pt idx="128">
                  <c:v>28.11.21</c:v>
                </c:pt>
                <c:pt idx="129">
                  <c:v>29.11.21</c:v>
                </c:pt>
                <c:pt idx="130">
                  <c:v>30.11.21</c:v>
                </c:pt>
                <c:pt idx="131">
                  <c:v>01.12.21</c:v>
                </c:pt>
                <c:pt idx="132">
                  <c:v>02.12.21</c:v>
                </c:pt>
                <c:pt idx="133">
                  <c:v>03.12.21</c:v>
                </c:pt>
                <c:pt idx="134">
                  <c:v>04.12.21</c:v>
                </c:pt>
                <c:pt idx="135">
                  <c:v>05.12.21</c:v>
                </c:pt>
                <c:pt idx="136">
                  <c:v>06.12.21</c:v>
                </c:pt>
                <c:pt idx="137">
                  <c:v>07.12.21</c:v>
                </c:pt>
                <c:pt idx="138">
                  <c:v>08.12.21</c:v>
                </c:pt>
                <c:pt idx="139">
                  <c:v>09.12.21</c:v>
                </c:pt>
                <c:pt idx="140">
                  <c:v>10.12.21</c:v>
                </c:pt>
                <c:pt idx="141">
                  <c:v>11.12.21</c:v>
                </c:pt>
                <c:pt idx="142">
                  <c:v>12.12.21</c:v>
                </c:pt>
                <c:pt idx="143">
                  <c:v>13.12.21</c:v>
                </c:pt>
                <c:pt idx="144">
                  <c:v>14.12.21</c:v>
                </c:pt>
                <c:pt idx="145">
                  <c:v>15.12.21</c:v>
                </c:pt>
                <c:pt idx="146">
                  <c:v>16.12.21</c:v>
                </c:pt>
                <c:pt idx="147">
                  <c:v>17.12.21</c:v>
                </c:pt>
                <c:pt idx="148">
                  <c:v>18.12.21</c:v>
                </c:pt>
                <c:pt idx="149">
                  <c:v>19.12.21</c:v>
                </c:pt>
                <c:pt idx="150">
                  <c:v>20.12.21</c:v>
                </c:pt>
                <c:pt idx="151">
                  <c:v>21.12.21</c:v>
                </c:pt>
                <c:pt idx="152">
                  <c:v>22.12.21</c:v>
                </c:pt>
                <c:pt idx="153">
                  <c:v>23.12.21</c:v>
                </c:pt>
                <c:pt idx="154">
                  <c:v>24.12.21</c:v>
                </c:pt>
                <c:pt idx="155">
                  <c:v>25.12.21</c:v>
                </c:pt>
                <c:pt idx="156">
                  <c:v>26.12.21</c:v>
                </c:pt>
                <c:pt idx="157">
                  <c:v>27.12.21</c:v>
                </c:pt>
                <c:pt idx="158">
                  <c:v>28.12.21</c:v>
                </c:pt>
                <c:pt idx="159">
                  <c:v>29.12.21</c:v>
                </c:pt>
                <c:pt idx="160">
                  <c:v>30.12.21</c:v>
                </c:pt>
                <c:pt idx="161">
                  <c:v>31.12.21</c:v>
                </c:pt>
                <c:pt idx="162">
                  <c:v>01.01.22</c:v>
                </c:pt>
                <c:pt idx="163">
                  <c:v>02.01.22</c:v>
                </c:pt>
                <c:pt idx="164">
                  <c:v>03.01.22</c:v>
                </c:pt>
                <c:pt idx="165">
                  <c:v>04.01.22</c:v>
                </c:pt>
                <c:pt idx="166">
                  <c:v>05.01.22</c:v>
                </c:pt>
                <c:pt idx="167">
                  <c:v>06.01.22</c:v>
                </c:pt>
                <c:pt idx="168">
                  <c:v>07.01.22</c:v>
                </c:pt>
                <c:pt idx="169">
                  <c:v>08.01.22</c:v>
                </c:pt>
                <c:pt idx="170">
                  <c:v>09.01.22</c:v>
                </c:pt>
                <c:pt idx="171">
                  <c:v>10.01.22</c:v>
                </c:pt>
                <c:pt idx="172">
                  <c:v>11.01.22</c:v>
                </c:pt>
                <c:pt idx="173">
                  <c:v>12.01.22</c:v>
                </c:pt>
                <c:pt idx="174">
                  <c:v>13.01.22</c:v>
                </c:pt>
                <c:pt idx="175">
                  <c:v>14.01.22</c:v>
                </c:pt>
                <c:pt idx="176">
                  <c:v>15.01.22</c:v>
                </c:pt>
                <c:pt idx="177">
                  <c:v>16.01.22</c:v>
                </c:pt>
                <c:pt idx="178">
                  <c:v>17.01.22</c:v>
                </c:pt>
                <c:pt idx="179">
                  <c:v>18.01.22</c:v>
                </c:pt>
                <c:pt idx="180">
                  <c:v>19.01.22</c:v>
                </c:pt>
                <c:pt idx="181">
                  <c:v>20.01.22</c:v>
                </c:pt>
                <c:pt idx="182">
                  <c:v>21.01.22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2</c:v>
                </c:pt>
                <c:pt idx="1">
                  <c:v>0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1</c:v>
                </c:pt>
                <c:pt idx="6">
                  <c:v>3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2</c:v>
                </c:pt>
                <c:pt idx="11">
                  <c:v>3</c:v>
                </c:pt>
                <c:pt idx="12">
                  <c:v>3</c:v>
                </c:pt>
                <c:pt idx="13">
                  <c:v>1</c:v>
                </c:pt>
                <c:pt idx="14">
                  <c:v>2</c:v>
                </c:pt>
                <c:pt idx="15">
                  <c:v>1</c:v>
                </c:pt>
                <c:pt idx="16">
                  <c:v>0</c:v>
                </c:pt>
                <c:pt idx="17">
                  <c:v>7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6</c:v>
                </c:pt>
                <c:pt idx="22">
                  <c:v>2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3</c:v>
                </c:pt>
                <c:pt idx="29">
                  <c:v>2</c:v>
                </c:pt>
                <c:pt idx="30">
                  <c:v>2</c:v>
                </c:pt>
                <c:pt idx="31">
                  <c:v>1</c:v>
                </c:pt>
                <c:pt idx="32">
                  <c:v>3</c:v>
                </c:pt>
                <c:pt idx="33">
                  <c:v>5</c:v>
                </c:pt>
                <c:pt idx="34">
                  <c:v>2</c:v>
                </c:pt>
                <c:pt idx="35">
                  <c:v>2</c:v>
                </c:pt>
                <c:pt idx="36">
                  <c:v>0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2</c:v>
                </c:pt>
                <c:pt idx="41">
                  <c:v>4</c:v>
                </c:pt>
                <c:pt idx="42">
                  <c:v>6</c:v>
                </c:pt>
                <c:pt idx="43">
                  <c:v>5</c:v>
                </c:pt>
                <c:pt idx="44">
                  <c:v>1</c:v>
                </c:pt>
                <c:pt idx="45">
                  <c:v>5</c:v>
                </c:pt>
                <c:pt idx="46">
                  <c:v>4</c:v>
                </c:pt>
                <c:pt idx="47">
                  <c:v>1</c:v>
                </c:pt>
                <c:pt idx="48">
                  <c:v>3</c:v>
                </c:pt>
                <c:pt idx="49">
                  <c:v>2</c:v>
                </c:pt>
                <c:pt idx="50">
                  <c:v>0</c:v>
                </c:pt>
                <c:pt idx="51">
                  <c:v>3</c:v>
                </c:pt>
                <c:pt idx="52">
                  <c:v>2</c:v>
                </c:pt>
                <c:pt idx="53">
                  <c:v>3</c:v>
                </c:pt>
                <c:pt idx="54">
                  <c:v>5</c:v>
                </c:pt>
                <c:pt idx="55">
                  <c:v>7</c:v>
                </c:pt>
                <c:pt idx="56">
                  <c:v>4</c:v>
                </c:pt>
                <c:pt idx="57">
                  <c:v>2</c:v>
                </c:pt>
                <c:pt idx="58">
                  <c:v>5</c:v>
                </c:pt>
                <c:pt idx="59">
                  <c:v>8</c:v>
                </c:pt>
                <c:pt idx="60">
                  <c:v>9</c:v>
                </c:pt>
                <c:pt idx="61">
                  <c:v>8</c:v>
                </c:pt>
                <c:pt idx="62">
                  <c:v>5</c:v>
                </c:pt>
                <c:pt idx="63">
                  <c:v>4</c:v>
                </c:pt>
                <c:pt idx="64">
                  <c:v>4</c:v>
                </c:pt>
                <c:pt idx="65">
                  <c:v>2</c:v>
                </c:pt>
                <c:pt idx="66">
                  <c:v>7</c:v>
                </c:pt>
                <c:pt idx="67">
                  <c:v>6</c:v>
                </c:pt>
                <c:pt idx="68">
                  <c:v>8</c:v>
                </c:pt>
                <c:pt idx="69">
                  <c:v>12</c:v>
                </c:pt>
                <c:pt idx="70">
                  <c:v>8</c:v>
                </c:pt>
                <c:pt idx="71">
                  <c:v>4</c:v>
                </c:pt>
                <c:pt idx="72">
                  <c:v>7</c:v>
                </c:pt>
                <c:pt idx="73">
                  <c:v>9</c:v>
                </c:pt>
                <c:pt idx="74">
                  <c:v>12</c:v>
                </c:pt>
                <c:pt idx="75">
                  <c:v>13</c:v>
                </c:pt>
                <c:pt idx="76">
                  <c:v>15</c:v>
                </c:pt>
                <c:pt idx="77">
                  <c:v>8</c:v>
                </c:pt>
                <c:pt idx="78">
                  <c:v>7</c:v>
                </c:pt>
                <c:pt idx="79">
                  <c:v>5</c:v>
                </c:pt>
                <c:pt idx="80">
                  <c:v>19</c:v>
                </c:pt>
                <c:pt idx="81">
                  <c:v>31</c:v>
                </c:pt>
                <c:pt idx="82">
                  <c:v>18</c:v>
                </c:pt>
                <c:pt idx="83">
                  <c:v>16</c:v>
                </c:pt>
                <c:pt idx="84">
                  <c:v>14</c:v>
                </c:pt>
                <c:pt idx="85">
                  <c:v>9</c:v>
                </c:pt>
                <c:pt idx="86">
                  <c:v>13</c:v>
                </c:pt>
                <c:pt idx="87">
                  <c:v>38</c:v>
                </c:pt>
                <c:pt idx="88">
                  <c:v>53</c:v>
                </c:pt>
                <c:pt idx="89">
                  <c:v>48</c:v>
                </c:pt>
                <c:pt idx="90">
                  <c:v>53</c:v>
                </c:pt>
                <c:pt idx="91">
                  <c:v>42</c:v>
                </c:pt>
                <c:pt idx="92">
                  <c:v>27</c:v>
                </c:pt>
                <c:pt idx="93">
                  <c:v>20</c:v>
                </c:pt>
                <c:pt idx="94">
                  <c:v>76</c:v>
                </c:pt>
                <c:pt idx="95">
                  <c:v>81</c:v>
                </c:pt>
                <c:pt idx="96">
                  <c:v>64</c:v>
                </c:pt>
                <c:pt idx="97">
                  <c:v>38</c:v>
                </c:pt>
                <c:pt idx="98">
                  <c:v>79</c:v>
                </c:pt>
                <c:pt idx="99">
                  <c:v>52</c:v>
                </c:pt>
                <c:pt idx="100">
                  <c:v>40</c:v>
                </c:pt>
                <c:pt idx="101">
                  <c:v>130</c:v>
                </c:pt>
                <c:pt idx="102">
                  <c:v>128</c:v>
                </c:pt>
                <c:pt idx="103">
                  <c:v>102</c:v>
                </c:pt>
                <c:pt idx="104">
                  <c:v>107</c:v>
                </c:pt>
                <c:pt idx="105">
                  <c:v>127</c:v>
                </c:pt>
                <c:pt idx="106">
                  <c:v>53</c:v>
                </c:pt>
                <c:pt idx="107">
                  <c:v>37</c:v>
                </c:pt>
                <c:pt idx="108">
                  <c:v>127</c:v>
                </c:pt>
                <c:pt idx="109">
                  <c:v>138</c:v>
                </c:pt>
                <c:pt idx="110">
                  <c:v>139</c:v>
                </c:pt>
                <c:pt idx="111">
                  <c:v>113</c:v>
                </c:pt>
                <c:pt idx="112">
                  <c:v>158</c:v>
                </c:pt>
                <c:pt idx="113">
                  <c:v>94</c:v>
                </c:pt>
                <c:pt idx="114">
                  <c:v>49</c:v>
                </c:pt>
                <c:pt idx="115">
                  <c:v>156</c:v>
                </c:pt>
                <c:pt idx="116">
                  <c:v>192</c:v>
                </c:pt>
                <c:pt idx="117">
                  <c:v>140</c:v>
                </c:pt>
                <c:pt idx="118">
                  <c:v>157</c:v>
                </c:pt>
                <c:pt idx="119">
                  <c:v>239</c:v>
                </c:pt>
                <c:pt idx="120">
                  <c:v>118</c:v>
                </c:pt>
                <c:pt idx="121">
                  <c:v>88</c:v>
                </c:pt>
                <c:pt idx="122">
                  <c:v>197</c:v>
                </c:pt>
                <c:pt idx="123">
                  <c:v>203</c:v>
                </c:pt>
                <c:pt idx="124">
                  <c:v>170</c:v>
                </c:pt>
                <c:pt idx="125">
                  <c:v>246</c:v>
                </c:pt>
                <c:pt idx="126">
                  <c:v>141</c:v>
                </c:pt>
                <c:pt idx="127">
                  <c:v>107</c:v>
                </c:pt>
                <c:pt idx="128">
                  <c:v>81</c:v>
                </c:pt>
                <c:pt idx="129">
                  <c:v>199</c:v>
                </c:pt>
                <c:pt idx="130">
                  <c:v>178</c:v>
                </c:pt>
                <c:pt idx="131">
                  <c:v>157</c:v>
                </c:pt>
                <c:pt idx="132">
                  <c:v>124</c:v>
                </c:pt>
                <c:pt idx="133">
                  <c:v>152</c:v>
                </c:pt>
                <c:pt idx="134">
                  <c:v>94</c:v>
                </c:pt>
                <c:pt idx="135">
                  <c:v>64</c:v>
                </c:pt>
                <c:pt idx="136">
                  <c:v>187</c:v>
                </c:pt>
                <c:pt idx="137">
                  <c:v>157</c:v>
                </c:pt>
                <c:pt idx="138">
                  <c:v>128</c:v>
                </c:pt>
                <c:pt idx="139">
                  <c:v>107</c:v>
                </c:pt>
                <c:pt idx="140">
                  <c:v>88</c:v>
                </c:pt>
                <c:pt idx="141">
                  <c:v>74</c:v>
                </c:pt>
                <c:pt idx="142">
                  <c:v>59</c:v>
                </c:pt>
                <c:pt idx="143">
                  <c:v>114</c:v>
                </c:pt>
                <c:pt idx="144">
                  <c:v>164</c:v>
                </c:pt>
                <c:pt idx="145">
                  <c:v>89</c:v>
                </c:pt>
                <c:pt idx="146">
                  <c:v>86</c:v>
                </c:pt>
                <c:pt idx="147">
                  <c:v>91</c:v>
                </c:pt>
                <c:pt idx="148">
                  <c:v>58</c:v>
                </c:pt>
                <c:pt idx="149">
                  <c:v>41</c:v>
                </c:pt>
                <c:pt idx="150">
                  <c:v>99</c:v>
                </c:pt>
                <c:pt idx="151">
                  <c:v>90</c:v>
                </c:pt>
                <c:pt idx="152">
                  <c:v>43</c:v>
                </c:pt>
                <c:pt idx="153">
                  <c:v>66</c:v>
                </c:pt>
                <c:pt idx="154">
                  <c:v>20</c:v>
                </c:pt>
                <c:pt idx="155">
                  <c:v>12</c:v>
                </c:pt>
                <c:pt idx="156">
                  <c:v>21</c:v>
                </c:pt>
                <c:pt idx="157">
                  <c:v>67</c:v>
                </c:pt>
                <c:pt idx="158">
                  <c:v>91</c:v>
                </c:pt>
                <c:pt idx="159">
                  <c:v>59</c:v>
                </c:pt>
                <c:pt idx="160">
                  <c:v>59</c:v>
                </c:pt>
                <c:pt idx="161">
                  <c:v>73</c:v>
                </c:pt>
                <c:pt idx="162">
                  <c:v>12</c:v>
                </c:pt>
                <c:pt idx="163">
                  <c:v>21</c:v>
                </c:pt>
                <c:pt idx="164">
                  <c:v>90</c:v>
                </c:pt>
                <c:pt idx="165">
                  <c:v>85</c:v>
                </c:pt>
                <c:pt idx="166">
                  <c:v>68</c:v>
                </c:pt>
                <c:pt idx="167">
                  <c:v>66</c:v>
                </c:pt>
                <c:pt idx="168">
                  <c:v>63</c:v>
                </c:pt>
                <c:pt idx="169">
                  <c:v>30</c:v>
                </c:pt>
                <c:pt idx="170">
                  <c:v>27</c:v>
                </c:pt>
                <c:pt idx="171">
                  <c:v>78</c:v>
                </c:pt>
                <c:pt idx="172">
                  <c:v>106</c:v>
                </c:pt>
                <c:pt idx="173">
                  <c:v>87</c:v>
                </c:pt>
                <c:pt idx="174">
                  <c:v>71</c:v>
                </c:pt>
                <c:pt idx="175">
                  <c:v>90</c:v>
                </c:pt>
                <c:pt idx="176">
                  <c:v>56</c:v>
                </c:pt>
                <c:pt idx="177">
                  <c:v>55</c:v>
                </c:pt>
                <c:pt idx="178">
                  <c:v>180</c:v>
                </c:pt>
                <c:pt idx="179">
                  <c:v>189</c:v>
                </c:pt>
                <c:pt idx="180">
                  <c:v>212</c:v>
                </c:pt>
                <c:pt idx="181">
                  <c:v>215</c:v>
                </c:pt>
                <c:pt idx="182">
                  <c:v>2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ax val="3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331278320671922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23.07.21</c:v>
                </c:pt>
                <c:pt idx="1">
                  <c:v>24.07.21</c:v>
                </c:pt>
                <c:pt idx="2">
                  <c:v>25.07.21</c:v>
                </c:pt>
                <c:pt idx="3">
                  <c:v>26.07.21</c:v>
                </c:pt>
                <c:pt idx="4">
                  <c:v>27.07.21</c:v>
                </c:pt>
                <c:pt idx="5">
                  <c:v>28.07.21</c:v>
                </c:pt>
                <c:pt idx="6">
                  <c:v>29.07.21</c:v>
                </c:pt>
                <c:pt idx="7">
                  <c:v>30.07.21</c:v>
                </c:pt>
                <c:pt idx="8">
                  <c:v>31.07.21</c:v>
                </c:pt>
                <c:pt idx="9">
                  <c:v>01.08.21</c:v>
                </c:pt>
                <c:pt idx="10">
                  <c:v>02.08.21</c:v>
                </c:pt>
                <c:pt idx="11">
                  <c:v>03.08.21</c:v>
                </c:pt>
                <c:pt idx="12">
                  <c:v>04.08.21</c:v>
                </c:pt>
                <c:pt idx="13">
                  <c:v>05.08.21</c:v>
                </c:pt>
                <c:pt idx="14">
                  <c:v>06.08.21</c:v>
                </c:pt>
                <c:pt idx="15">
                  <c:v>07.08.21</c:v>
                </c:pt>
                <c:pt idx="16">
                  <c:v>08.08.21</c:v>
                </c:pt>
                <c:pt idx="17">
                  <c:v>09.08.21</c:v>
                </c:pt>
                <c:pt idx="18">
                  <c:v>10.08.21</c:v>
                </c:pt>
                <c:pt idx="19">
                  <c:v>11.08.21</c:v>
                </c:pt>
                <c:pt idx="20">
                  <c:v>12.08.21</c:v>
                </c:pt>
                <c:pt idx="21">
                  <c:v>13.08.21</c:v>
                </c:pt>
                <c:pt idx="22">
                  <c:v>14.08.21</c:v>
                </c:pt>
                <c:pt idx="23">
                  <c:v>15.08.21</c:v>
                </c:pt>
                <c:pt idx="24">
                  <c:v>16.08.21</c:v>
                </c:pt>
                <c:pt idx="25">
                  <c:v>17.08.21</c:v>
                </c:pt>
                <c:pt idx="26">
                  <c:v>18.08.21</c:v>
                </c:pt>
                <c:pt idx="27">
                  <c:v>19.08.21</c:v>
                </c:pt>
                <c:pt idx="28">
                  <c:v>20.08.21</c:v>
                </c:pt>
                <c:pt idx="29">
                  <c:v>21.08.21</c:v>
                </c:pt>
                <c:pt idx="30">
                  <c:v>22.08.21</c:v>
                </c:pt>
                <c:pt idx="31">
                  <c:v>23.08.21</c:v>
                </c:pt>
                <c:pt idx="32">
                  <c:v>24.08.21</c:v>
                </c:pt>
                <c:pt idx="33">
                  <c:v>25.08.21</c:v>
                </c:pt>
                <c:pt idx="34">
                  <c:v>26.08.21</c:v>
                </c:pt>
                <c:pt idx="35">
                  <c:v>27.08.21</c:v>
                </c:pt>
                <c:pt idx="36">
                  <c:v>28.08.21</c:v>
                </c:pt>
                <c:pt idx="37">
                  <c:v>29.08.21</c:v>
                </c:pt>
                <c:pt idx="38">
                  <c:v>30.08.21</c:v>
                </c:pt>
                <c:pt idx="39">
                  <c:v>31.08.21</c:v>
                </c:pt>
                <c:pt idx="40">
                  <c:v>01.09.21</c:v>
                </c:pt>
                <c:pt idx="41">
                  <c:v>02.09.21</c:v>
                </c:pt>
                <c:pt idx="42">
                  <c:v>03.09.21</c:v>
                </c:pt>
                <c:pt idx="43">
                  <c:v>04.09.21</c:v>
                </c:pt>
                <c:pt idx="44">
                  <c:v>05.09.21</c:v>
                </c:pt>
                <c:pt idx="45">
                  <c:v>06.09.21</c:v>
                </c:pt>
                <c:pt idx="46">
                  <c:v>07.09.21</c:v>
                </c:pt>
                <c:pt idx="47">
                  <c:v>08.09.21</c:v>
                </c:pt>
                <c:pt idx="48">
                  <c:v>09.09.21</c:v>
                </c:pt>
                <c:pt idx="49">
                  <c:v>10.09.21</c:v>
                </c:pt>
                <c:pt idx="50">
                  <c:v>11.09.21</c:v>
                </c:pt>
                <c:pt idx="51">
                  <c:v>12.09.21</c:v>
                </c:pt>
                <c:pt idx="52">
                  <c:v>13.09.21</c:v>
                </c:pt>
                <c:pt idx="53">
                  <c:v>14.09.21</c:v>
                </c:pt>
                <c:pt idx="54">
                  <c:v>15.09.21</c:v>
                </c:pt>
                <c:pt idx="55">
                  <c:v>16.09.21</c:v>
                </c:pt>
                <c:pt idx="56">
                  <c:v>17.09.21</c:v>
                </c:pt>
                <c:pt idx="57">
                  <c:v>18.09.21</c:v>
                </c:pt>
                <c:pt idx="58">
                  <c:v>19.09.21</c:v>
                </c:pt>
                <c:pt idx="59">
                  <c:v>20.09.21</c:v>
                </c:pt>
                <c:pt idx="60">
                  <c:v>21.09.21</c:v>
                </c:pt>
                <c:pt idx="61">
                  <c:v>22.09.21</c:v>
                </c:pt>
                <c:pt idx="62">
                  <c:v>23.09.21</c:v>
                </c:pt>
                <c:pt idx="63">
                  <c:v>24.09.21</c:v>
                </c:pt>
                <c:pt idx="64">
                  <c:v>25.09.21</c:v>
                </c:pt>
                <c:pt idx="65">
                  <c:v>26.09.21</c:v>
                </c:pt>
                <c:pt idx="66">
                  <c:v>27.09.21</c:v>
                </c:pt>
                <c:pt idx="67">
                  <c:v>28.09.21</c:v>
                </c:pt>
                <c:pt idx="68">
                  <c:v>29.09.21</c:v>
                </c:pt>
                <c:pt idx="69">
                  <c:v>30.09.21</c:v>
                </c:pt>
                <c:pt idx="70">
                  <c:v>01.10.21</c:v>
                </c:pt>
                <c:pt idx="71">
                  <c:v>02.10.21</c:v>
                </c:pt>
                <c:pt idx="72">
                  <c:v>03.10.21</c:v>
                </c:pt>
                <c:pt idx="73">
                  <c:v>04.10.21</c:v>
                </c:pt>
                <c:pt idx="74">
                  <c:v>05.10.21</c:v>
                </c:pt>
                <c:pt idx="75">
                  <c:v>06.10.21</c:v>
                </c:pt>
                <c:pt idx="76">
                  <c:v>07.10.21</c:v>
                </c:pt>
                <c:pt idx="77">
                  <c:v>08.10.21</c:v>
                </c:pt>
                <c:pt idx="78">
                  <c:v>09.10.21</c:v>
                </c:pt>
                <c:pt idx="79">
                  <c:v>10.10.21</c:v>
                </c:pt>
                <c:pt idx="80">
                  <c:v>11.10.21</c:v>
                </c:pt>
                <c:pt idx="81">
                  <c:v>12.10.21</c:v>
                </c:pt>
                <c:pt idx="82">
                  <c:v>13.10.21</c:v>
                </c:pt>
                <c:pt idx="83">
                  <c:v>14.10.21</c:v>
                </c:pt>
                <c:pt idx="84">
                  <c:v>15.10.21</c:v>
                </c:pt>
                <c:pt idx="85">
                  <c:v>16.10.21</c:v>
                </c:pt>
                <c:pt idx="86">
                  <c:v>17.10.21</c:v>
                </c:pt>
                <c:pt idx="87">
                  <c:v>18.10.21</c:v>
                </c:pt>
                <c:pt idx="88">
                  <c:v>19.10.21</c:v>
                </c:pt>
                <c:pt idx="89">
                  <c:v>20.10.21</c:v>
                </c:pt>
                <c:pt idx="90">
                  <c:v>21.10.21</c:v>
                </c:pt>
                <c:pt idx="91">
                  <c:v>22.10.21</c:v>
                </c:pt>
                <c:pt idx="92">
                  <c:v>23.10.21</c:v>
                </c:pt>
                <c:pt idx="93">
                  <c:v>24.10.21</c:v>
                </c:pt>
                <c:pt idx="94">
                  <c:v>25.10.21</c:v>
                </c:pt>
                <c:pt idx="95">
                  <c:v>26.10.21</c:v>
                </c:pt>
                <c:pt idx="96">
                  <c:v>27.10.21</c:v>
                </c:pt>
                <c:pt idx="97">
                  <c:v>28.10.21</c:v>
                </c:pt>
                <c:pt idx="98">
                  <c:v>29.10.21</c:v>
                </c:pt>
                <c:pt idx="99">
                  <c:v>30.10.21</c:v>
                </c:pt>
                <c:pt idx="100">
                  <c:v>31.10.21</c:v>
                </c:pt>
                <c:pt idx="101">
                  <c:v>01.11.21</c:v>
                </c:pt>
                <c:pt idx="102">
                  <c:v>02.11.21</c:v>
                </c:pt>
                <c:pt idx="103">
                  <c:v>03.11.21</c:v>
                </c:pt>
                <c:pt idx="104">
                  <c:v>04.11.21</c:v>
                </c:pt>
                <c:pt idx="105">
                  <c:v>05.11.21</c:v>
                </c:pt>
                <c:pt idx="106">
                  <c:v>06.11.21</c:v>
                </c:pt>
                <c:pt idx="107">
                  <c:v>07.11.21</c:v>
                </c:pt>
                <c:pt idx="108">
                  <c:v>08.11.21</c:v>
                </c:pt>
                <c:pt idx="109">
                  <c:v>09.11.21</c:v>
                </c:pt>
                <c:pt idx="110">
                  <c:v>10.11.21</c:v>
                </c:pt>
                <c:pt idx="111">
                  <c:v>11.11.21</c:v>
                </c:pt>
                <c:pt idx="112">
                  <c:v>12.11.21</c:v>
                </c:pt>
                <c:pt idx="113">
                  <c:v>13.11.21</c:v>
                </c:pt>
                <c:pt idx="114">
                  <c:v>14.11.21</c:v>
                </c:pt>
                <c:pt idx="115">
                  <c:v>15.11.21</c:v>
                </c:pt>
                <c:pt idx="116">
                  <c:v>16.11.21</c:v>
                </c:pt>
                <c:pt idx="117">
                  <c:v>17.11.21</c:v>
                </c:pt>
                <c:pt idx="118">
                  <c:v>18.11.21</c:v>
                </c:pt>
                <c:pt idx="119">
                  <c:v>19.11.21</c:v>
                </c:pt>
                <c:pt idx="120">
                  <c:v>20.11.21</c:v>
                </c:pt>
                <c:pt idx="121">
                  <c:v>21.11.21</c:v>
                </c:pt>
                <c:pt idx="122">
                  <c:v>22.11.21</c:v>
                </c:pt>
                <c:pt idx="123">
                  <c:v>23.11.21</c:v>
                </c:pt>
                <c:pt idx="124">
                  <c:v>24.11.21</c:v>
                </c:pt>
                <c:pt idx="125">
                  <c:v>25.11.21</c:v>
                </c:pt>
                <c:pt idx="126">
                  <c:v>26.11.21</c:v>
                </c:pt>
                <c:pt idx="127">
                  <c:v>27.11.21</c:v>
                </c:pt>
                <c:pt idx="128">
                  <c:v>28.11.21</c:v>
                </c:pt>
                <c:pt idx="129">
                  <c:v>29.11.21</c:v>
                </c:pt>
                <c:pt idx="130">
                  <c:v>30.11.21</c:v>
                </c:pt>
                <c:pt idx="131">
                  <c:v>01.12.21</c:v>
                </c:pt>
                <c:pt idx="132">
                  <c:v>02.12.21</c:v>
                </c:pt>
                <c:pt idx="133">
                  <c:v>03.12.21</c:v>
                </c:pt>
                <c:pt idx="134">
                  <c:v>04.12.21</c:v>
                </c:pt>
                <c:pt idx="135">
                  <c:v>05.12.21</c:v>
                </c:pt>
                <c:pt idx="136">
                  <c:v>06.12.21</c:v>
                </c:pt>
                <c:pt idx="137">
                  <c:v>07.12.21</c:v>
                </c:pt>
                <c:pt idx="138">
                  <c:v>08.12.21</c:v>
                </c:pt>
                <c:pt idx="139">
                  <c:v>09.12.21</c:v>
                </c:pt>
                <c:pt idx="140">
                  <c:v>10.12.21</c:v>
                </c:pt>
                <c:pt idx="141">
                  <c:v>11.12.21</c:v>
                </c:pt>
                <c:pt idx="142">
                  <c:v>12.12.21</c:v>
                </c:pt>
                <c:pt idx="143">
                  <c:v>13.12.21</c:v>
                </c:pt>
                <c:pt idx="144">
                  <c:v>14.12.21</c:v>
                </c:pt>
                <c:pt idx="145">
                  <c:v>15.12.21</c:v>
                </c:pt>
                <c:pt idx="146">
                  <c:v>16.12.21</c:v>
                </c:pt>
                <c:pt idx="147">
                  <c:v>17.12.21</c:v>
                </c:pt>
                <c:pt idx="148">
                  <c:v>18.12.21</c:v>
                </c:pt>
                <c:pt idx="149">
                  <c:v>19.12.21</c:v>
                </c:pt>
                <c:pt idx="150">
                  <c:v>20.12.21</c:v>
                </c:pt>
                <c:pt idx="151">
                  <c:v>21.12.21</c:v>
                </c:pt>
                <c:pt idx="152">
                  <c:v>22.12.21</c:v>
                </c:pt>
                <c:pt idx="153">
                  <c:v>23.12.21</c:v>
                </c:pt>
                <c:pt idx="154">
                  <c:v>24.12.21</c:v>
                </c:pt>
                <c:pt idx="155">
                  <c:v>25.12.21</c:v>
                </c:pt>
                <c:pt idx="156">
                  <c:v>26.12.21</c:v>
                </c:pt>
                <c:pt idx="157">
                  <c:v>27.12.21</c:v>
                </c:pt>
                <c:pt idx="158">
                  <c:v>28.12.21</c:v>
                </c:pt>
                <c:pt idx="159">
                  <c:v>29.12.21</c:v>
                </c:pt>
                <c:pt idx="160">
                  <c:v>30.12.21</c:v>
                </c:pt>
                <c:pt idx="161">
                  <c:v>31.12.21</c:v>
                </c:pt>
                <c:pt idx="162">
                  <c:v>01.01.22</c:v>
                </c:pt>
                <c:pt idx="163">
                  <c:v>02.01.22</c:v>
                </c:pt>
                <c:pt idx="164">
                  <c:v>03.01.22</c:v>
                </c:pt>
                <c:pt idx="165">
                  <c:v>04.01.22</c:v>
                </c:pt>
                <c:pt idx="166">
                  <c:v>05.01.22</c:v>
                </c:pt>
                <c:pt idx="167">
                  <c:v>06.01.22</c:v>
                </c:pt>
                <c:pt idx="168">
                  <c:v>07.01.22</c:v>
                </c:pt>
                <c:pt idx="169">
                  <c:v>08.01.22</c:v>
                </c:pt>
                <c:pt idx="170">
                  <c:v>09.01.22</c:v>
                </c:pt>
                <c:pt idx="171">
                  <c:v>10.01.22</c:v>
                </c:pt>
                <c:pt idx="172">
                  <c:v>11.01.22</c:v>
                </c:pt>
                <c:pt idx="173">
                  <c:v>12.01.22</c:v>
                </c:pt>
                <c:pt idx="174">
                  <c:v>13.01.22</c:v>
                </c:pt>
                <c:pt idx="175">
                  <c:v>14.01.22</c:v>
                </c:pt>
                <c:pt idx="176">
                  <c:v>15.01.22</c:v>
                </c:pt>
                <c:pt idx="177">
                  <c:v>16.01.22</c:v>
                </c:pt>
                <c:pt idx="178">
                  <c:v>17.01.22</c:v>
                </c:pt>
                <c:pt idx="179">
                  <c:v>18.01.22</c:v>
                </c:pt>
                <c:pt idx="180">
                  <c:v>19.01.22</c:v>
                </c:pt>
                <c:pt idx="181">
                  <c:v>20.01.22</c:v>
                </c:pt>
                <c:pt idx="182">
                  <c:v>21.01.22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28</c:v>
                </c:pt>
                <c:pt idx="1">
                  <c:v>28</c:v>
                </c:pt>
                <c:pt idx="2">
                  <c:v>29</c:v>
                </c:pt>
                <c:pt idx="3">
                  <c:v>29</c:v>
                </c:pt>
                <c:pt idx="4">
                  <c:v>30</c:v>
                </c:pt>
                <c:pt idx="5">
                  <c:v>31</c:v>
                </c:pt>
                <c:pt idx="6">
                  <c:v>32</c:v>
                </c:pt>
                <c:pt idx="7">
                  <c:v>30</c:v>
                </c:pt>
                <c:pt idx="8">
                  <c:v>29</c:v>
                </c:pt>
                <c:pt idx="9">
                  <c:v>28</c:v>
                </c:pt>
                <c:pt idx="10">
                  <c:v>26</c:v>
                </c:pt>
                <c:pt idx="11">
                  <c:v>24</c:v>
                </c:pt>
                <c:pt idx="12">
                  <c:v>27</c:v>
                </c:pt>
                <c:pt idx="13">
                  <c:v>25</c:v>
                </c:pt>
                <c:pt idx="14">
                  <c:v>27</c:v>
                </c:pt>
                <c:pt idx="15">
                  <c:v>24</c:v>
                </c:pt>
                <c:pt idx="16">
                  <c:v>26</c:v>
                </c:pt>
                <c:pt idx="17">
                  <c:v>26</c:v>
                </c:pt>
                <c:pt idx="18">
                  <c:v>26</c:v>
                </c:pt>
                <c:pt idx="19">
                  <c:v>26</c:v>
                </c:pt>
                <c:pt idx="20">
                  <c:v>27</c:v>
                </c:pt>
                <c:pt idx="21">
                  <c:v>27</c:v>
                </c:pt>
                <c:pt idx="22">
                  <c:v>27</c:v>
                </c:pt>
                <c:pt idx="23">
                  <c:v>27</c:v>
                </c:pt>
                <c:pt idx="24">
                  <c:v>30</c:v>
                </c:pt>
                <c:pt idx="25">
                  <c:v>27</c:v>
                </c:pt>
                <c:pt idx="26">
                  <c:v>24</c:v>
                </c:pt>
                <c:pt idx="27">
                  <c:v>24</c:v>
                </c:pt>
                <c:pt idx="28">
                  <c:v>23</c:v>
                </c:pt>
                <c:pt idx="29">
                  <c:v>22</c:v>
                </c:pt>
                <c:pt idx="30">
                  <c:v>20</c:v>
                </c:pt>
                <c:pt idx="31">
                  <c:v>21</c:v>
                </c:pt>
                <c:pt idx="32">
                  <c:v>20</c:v>
                </c:pt>
                <c:pt idx="33">
                  <c:v>18</c:v>
                </c:pt>
                <c:pt idx="34">
                  <c:v>19</c:v>
                </c:pt>
                <c:pt idx="35">
                  <c:v>19</c:v>
                </c:pt>
                <c:pt idx="36">
                  <c:v>20</c:v>
                </c:pt>
                <c:pt idx="37">
                  <c:v>19</c:v>
                </c:pt>
                <c:pt idx="38">
                  <c:v>17</c:v>
                </c:pt>
                <c:pt idx="39">
                  <c:v>21</c:v>
                </c:pt>
                <c:pt idx="40">
                  <c:v>24</c:v>
                </c:pt>
                <c:pt idx="41">
                  <c:v>25</c:v>
                </c:pt>
                <c:pt idx="42">
                  <c:v>25</c:v>
                </c:pt>
                <c:pt idx="43">
                  <c:v>28</c:v>
                </c:pt>
                <c:pt idx="44">
                  <c:v>29</c:v>
                </c:pt>
                <c:pt idx="45">
                  <c:v>27</c:v>
                </c:pt>
                <c:pt idx="46">
                  <c:v>28</c:v>
                </c:pt>
                <c:pt idx="47">
                  <c:v>27</c:v>
                </c:pt>
                <c:pt idx="48">
                  <c:v>27</c:v>
                </c:pt>
                <c:pt idx="49">
                  <c:v>28</c:v>
                </c:pt>
                <c:pt idx="50">
                  <c:v>31</c:v>
                </c:pt>
                <c:pt idx="51">
                  <c:v>30</c:v>
                </c:pt>
                <c:pt idx="52">
                  <c:v>32</c:v>
                </c:pt>
                <c:pt idx="53">
                  <c:v>31</c:v>
                </c:pt>
                <c:pt idx="54">
                  <c:v>28</c:v>
                </c:pt>
                <c:pt idx="55">
                  <c:v>29</c:v>
                </c:pt>
                <c:pt idx="56">
                  <c:v>29</c:v>
                </c:pt>
                <c:pt idx="57">
                  <c:v>28</c:v>
                </c:pt>
                <c:pt idx="58">
                  <c:v>28</c:v>
                </c:pt>
                <c:pt idx="59">
                  <c:v>26</c:v>
                </c:pt>
                <c:pt idx="60">
                  <c:v>29</c:v>
                </c:pt>
                <c:pt idx="61">
                  <c:v>32</c:v>
                </c:pt>
                <c:pt idx="62">
                  <c:v>32</c:v>
                </c:pt>
                <c:pt idx="63">
                  <c:v>33</c:v>
                </c:pt>
                <c:pt idx="64">
                  <c:v>31</c:v>
                </c:pt>
                <c:pt idx="65">
                  <c:v>31</c:v>
                </c:pt>
                <c:pt idx="66">
                  <c:v>33</c:v>
                </c:pt>
                <c:pt idx="67">
                  <c:v>37</c:v>
                </c:pt>
                <c:pt idx="68">
                  <c:v>40</c:v>
                </c:pt>
                <c:pt idx="69">
                  <c:v>48</c:v>
                </c:pt>
                <c:pt idx="70">
                  <c:v>49</c:v>
                </c:pt>
                <c:pt idx="71">
                  <c:v>53</c:v>
                </c:pt>
                <c:pt idx="72">
                  <c:v>53</c:v>
                </c:pt>
                <c:pt idx="73">
                  <c:v>52</c:v>
                </c:pt>
                <c:pt idx="74">
                  <c:v>51</c:v>
                </c:pt>
                <c:pt idx="75">
                  <c:v>52</c:v>
                </c:pt>
                <c:pt idx="76">
                  <c:v>57</c:v>
                </c:pt>
                <c:pt idx="77">
                  <c:v>60</c:v>
                </c:pt>
                <c:pt idx="78">
                  <c:v>61</c:v>
                </c:pt>
                <c:pt idx="79">
                  <c:v>60</c:v>
                </c:pt>
                <c:pt idx="80">
                  <c:v>54</c:v>
                </c:pt>
                <c:pt idx="81">
                  <c:v>63</c:v>
                </c:pt>
                <c:pt idx="82">
                  <c:v>60</c:v>
                </c:pt>
                <c:pt idx="83">
                  <c:v>63</c:v>
                </c:pt>
                <c:pt idx="84">
                  <c:v>66</c:v>
                </c:pt>
                <c:pt idx="85">
                  <c:v>69</c:v>
                </c:pt>
                <c:pt idx="86">
                  <c:v>75</c:v>
                </c:pt>
                <c:pt idx="87">
                  <c:v>92</c:v>
                </c:pt>
                <c:pt idx="88">
                  <c:v>105</c:v>
                </c:pt>
                <c:pt idx="89">
                  <c:v>113</c:v>
                </c:pt>
                <c:pt idx="90">
                  <c:v>120</c:v>
                </c:pt>
                <c:pt idx="91">
                  <c:v>131</c:v>
                </c:pt>
                <c:pt idx="92">
                  <c:v>144</c:v>
                </c:pt>
                <c:pt idx="93">
                  <c:v>154</c:v>
                </c:pt>
                <c:pt idx="94">
                  <c:v>179</c:v>
                </c:pt>
                <c:pt idx="95">
                  <c:v>186</c:v>
                </c:pt>
                <c:pt idx="96">
                  <c:v>205</c:v>
                </c:pt>
                <c:pt idx="97">
                  <c:v>219</c:v>
                </c:pt>
                <c:pt idx="98">
                  <c:v>249</c:v>
                </c:pt>
                <c:pt idx="99">
                  <c:v>265</c:v>
                </c:pt>
                <c:pt idx="100">
                  <c:v>271</c:v>
                </c:pt>
                <c:pt idx="101">
                  <c:v>310</c:v>
                </c:pt>
                <c:pt idx="102">
                  <c:v>332</c:v>
                </c:pt>
                <c:pt idx="103">
                  <c:v>355</c:v>
                </c:pt>
                <c:pt idx="104">
                  <c:v>369</c:v>
                </c:pt>
                <c:pt idx="105">
                  <c:v>387</c:v>
                </c:pt>
                <c:pt idx="106">
                  <c:v>395</c:v>
                </c:pt>
                <c:pt idx="107">
                  <c:v>403</c:v>
                </c:pt>
                <c:pt idx="108">
                  <c:v>424</c:v>
                </c:pt>
                <c:pt idx="109">
                  <c:v>454</c:v>
                </c:pt>
                <c:pt idx="110">
                  <c:v>471</c:v>
                </c:pt>
                <c:pt idx="111">
                  <c:v>504</c:v>
                </c:pt>
                <c:pt idx="112">
                  <c:v>503</c:v>
                </c:pt>
                <c:pt idx="113">
                  <c:v>538</c:v>
                </c:pt>
                <c:pt idx="114">
                  <c:v>543</c:v>
                </c:pt>
                <c:pt idx="115">
                  <c:v>542</c:v>
                </c:pt>
                <c:pt idx="116">
                  <c:v>568</c:v>
                </c:pt>
                <c:pt idx="117">
                  <c:v>574</c:v>
                </c:pt>
                <c:pt idx="118">
                  <c:v>599</c:v>
                </c:pt>
                <c:pt idx="119">
                  <c:v>641</c:v>
                </c:pt>
                <c:pt idx="120">
                  <c:v>669</c:v>
                </c:pt>
                <c:pt idx="121">
                  <c:v>673</c:v>
                </c:pt>
                <c:pt idx="122">
                  <c:v>669</c:v>
                </c:pt>
                <c:pt idx="123">
                  <c:v>707</c:v>
                </c:pt>
                <c:pt idx="124">
                  <c:v>695</c:v>
                </c:pt>
                <c:pt idx="125">
                  <c:v>711</c:v>
                </c:pt>
                <c:pt idx="126">
                  <c:v>703</c:v>
                </c:pt>
                <c:pt idx="127">
                  <c:v>708</c:v>
                </c:pt>
                <c:pt idx="128">
                  <c:v>723</c:v>
                </c:pt>
                <c:pt idx="129">
                  <c:v>713</c:v>
                </c:pt>
                <c:pt idx="130">
                  <c:v>706</c:v>
                </c:pt>
                <c:pt idx="131">
                  <c:v>721</c:v>
                </c:pt>
                <c:pt idx="132">
                  <c:v>692</c:v>
                </c:pt>
                <c:pt idx="133">
                  <c:v>665</c:v>
                </c:pt>
                <c:pt idx="134">
                  <c:v>659</c:v>
                </c:pt>
                <c:pt idx="135">
                  <c:v>641</c:v>
                </c:pt>
                <c:pt idx="136">
                  <c:v>600</c:v>
                </c:pt>
                <c:pt idx="137">
                  <c:v>580</c:v>
                </c:pt>
                <c:pt idx="138">
                  <c:v>568</c:v>
                </c:pt>
                <c:pt idx="139">
                  <c:v>540</c:v>
                </c:pt>
                <c:pt idx="140">
                  <c:v>519</c:v>
                </c:pt>
                <c:pt idx="141">
                  <c:v>508</c:v>
                </c:pt>
                <c:pt idx="142">
                  <c:v>487</c:v>
                </c:pt>
                <c:pt idx="143">
                  <c:v>456</c:v>
                </c:pt>
                <c:pt idx="144">
                  <c:v>434</c:v>
                </c:pt>
                <c:pt idx="145">
                  <c:v>411</c:v>
                </c:pt>
                <c:pt idx="146">
                  <c:v>383</c:v>
                </c:pt>
                <c:pt idx="147">
                  <c:v>360</c:v>
                </c:pt>
                <c:pt idx="148">
                  <c:v>357</c:v>
                </c:pt>
                <c:pt idx="149">
                  <c:v>355</c:v>
                </c:pt>
                <c:pt idx="150">
                  <c:v>329</c:v>
                </c:pt>
                <c:pt idx="151">
                  <c:v>328</c:v>
                </c:pt>
                <c:pt idx="152">
                  <c:v>314</c:v>
                </c:pt>
                <c:pt idx="153">
                  <c:v>304</c:v>
                </c:pt>
                <c:pt idx="154">
                  <c:v>276</c:v>
                </c:pt>
                <c:pt idx="155">
                  <c:v>273</c:v>
                </c:pt>
                <c:pt idx="156">
                  <c:v>269</c:v>
                </c:pt>
                <c:pt idx="157">
                  <c:v>258</c:v>
                </c:pt>
                <c:pt idx="158">
                  <c:v>264</c:v>
                </c:pt>
                <c:pt idx="159">
                  <c:v>268</c:v>
                </c:pt>
                <c:pt idx="160">
                  <c:v>269</c:v>
                </c:pt>
                <c:pt idx="161">
                  <c:v>264</c:v>
                </c:pt>
                <c:pt idx="162">
                  <c:v>255</c:v>
                </c:pt>
                <c:pt idx="163">
                  <c:v>263</c:v>
                </c:pt>
                <c:pt idx="164">
                  <c:v>261</c:v>
                </c:pt>
                <c:pt idx="165">
                  <c:v>266</c:v>
                </c:pt>
                <c:pt idx="166">
                  <c:v>267</c:v>
                </c:pt>
                <c:pt idx="167">
                  <c:v>276</c:v>
                </c:pt>
                <c:pt idx="168">
                  <c:v>289</c:v>
                </c:pt>
                <c:pt idx="169">
                  <c:v>293</c:v>
                </c:pt>
                <c:pt idx="170">
                  <c:v>299</c:v>
                </c:pt>
                <c:pt idx="171">
                  <c:v>297</c:v>
                </c:pt>
                <c:pt idx="172">
                  <c:v>315</c:v>
                </c:pt>
                <c:pt idx="173">
                  <c:v>365</c:v>
                </c:pt>
                <c:pt idx="174">
                  <c:v>382</c:v>
                </c:pt>
                <c:pt idx="175">
                  <c:v>414</c:v>
                </c:pt>
                <c:pt idx="176">
                  <c:v>432</c:v>
                </c:pt>
                <c:pt idx="177">
                  <c:v>450</c:v>
                </c:pt>
                <c:pt idx="178">
                  <c:v>524</c:v>
                </c:pt>
                <c:pt idx="179">
                  <c:v>610</c:v>
                </c:pt>
                <c:pt idx="180">
                  <c:v>721</c:v>
                </c:pt>
                <c:pt idx="181">
                  <c:v>827</c:v>
                </c:pt>
                <c:pt idx="182">
                  <c:v>8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CD-4BA3-857E-B86804E5EE0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28575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1.7754105636927238E-3"/>
                  <c:y val="9.1782611050075675E-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197070572569906"/>
                      <c:h val="4.732494990964000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GB$1</c:f>
              <c:strCache>
                <c:ptCount val="183"/>
                <c:pt idx="0">
                  <c:v>23.07.21</c:v>
                </c:pt>
                <c:pt idx="1">
                  <c:v>24.07.21</c:v>
                </c:pt>
                <c:pt idx="2">
                  <c:v>25.07.21</c:v>
                </c:pt>
                <c:pt idx="3">
                  <c:v>26.07.21</c:v>
                </c:pt>
                <c:pt idx="4">
                  <c:v>27.07.21</c:v>
                </c:pt>
                <c:pt idx="5">
                  <c:v>28.07.21</c:v>
                </c:pt>
                <c:pt idx="6">
                  <c:v>29.07.21</c:v>
                </c:pt>
                <c:pt idx="7">
                  <c:v>30.07.21</c:v>
                </c:pt>
                <c:pt idx="8">
                  <c:v>31.07.21</c:v>
                </c:pt>
                <c:pt idx="9">
                  <c:v>01.08.21</c:v>
                </c:pt>
                <c:pt idx="10">
                  <c:v>02.08.21</c:v>
                </c:pt>
                <c:pt idx="11">
                  <c:v>03.08.21</c:v>
                </c:pt>
                <c:pt idx="12">
                  <c:v>04.08.21</c:v>
                </c:pt>
                <c:pt idx="13">
                  <c:v>05.08.21</c:v>
                </c:pt>
                <c:pt idx="14">
                  <c:v>06.08.21</c:v>
                </c:pt>
                <c:pt idx="15">
                  <c:v>07.08.21</c:v>
                </c:pt>
                <c:pt idx="16">
                  <c:v>08.08.21</c:v>
                </c:pt>
                <c:pt idx="17">
                  <c:v>09.08.21</c:v>
                </c:pt>
                <c:pt idx="18">
                  <c:v>10.08.21</c:v>
                </c:pt>
                <c:pt idx="19">
                  <c:v>11.08.21</c:v>
                </c:pt>
                <c:pt idx="20">
                  <c:v>12.08.21</c:v>
                </c:pt>
                <c:pt idx="21">
                  <c:v>13.08.21</c:v>
                </c:pt>
                <c:pt idx="22">
                  <c:v>14.08.21</c:v>
                </c:pt>
                <c:pt idx="23">
                  <c:v>15.08.21</c:v>
                </c:pt>
                <c:pt idx="24">
                  <c:v>16.08.21</c:v>
                </c:pt>
                <c:pt idx="25">
                  <c:v>17.08.21</c:v>
                </c:pt>
                <c:pt idx="26">
                  <c:v>18.08.21</c:v>
                </c:pt>
                <c:pt idx="27">
                  <c:v>19.08.21</c:v>
                </c:pt>
                <c:pt idx="28">
                  <c:v>20.08.21</c:v>
                </c:pt>
                <c:pt idx="29">
                  <c:v>21.08.21</c:v>
                </c:pt>
                <c:pt idx="30">
                  <c:v>22.08.21</c:v>
                </c:pt>
                <c:pt idx="31">
                  <c:v>23.08.21</c:v>
                </c:pt>
                <c:pt idx="32">
                  <c:v>24.08.21</c:v>
                </c:pt>
                <c:pt idx="33">
                  <c:v>25.08.21</c:v>
                </c:pt>
                <c:pt idx="34">
                  <c:v>26.08.21</c:v>
                </c:pt>
                <c:pt idx="35">
                  <c:v>27.08.21</c:v>
                </c:pt>
                <c:pt idx="36">
                  <c:v>28.08.21</c:v>
                </c:pt>
                <c:pt idx="37">
                  <c:v>29.08.21</c:v>
                </c:pt>
                <c:pt idx="38">
                  <c:v>30.08.21</c:v>
                </c:pt>
                <c:pt idx="39">
                  <c:v>31.08.21</c:v>
                </c:pt>
                <c:pt idx="40">
                  <c:v>01.09.21</c:v>
                </c:pt>
                <c:pt idx="41">
                  <c:v>02.09.21</c:v>
                </c:pt>
                <c:pt idx="42">
                  <c:v>03.09.21</c:v>
                </c:pt>
                <c:pt idx="43">
                  <c:v>04.09.21</c:v>
                </c:pt>
                <c:pt idx="44">
                  <c:v>05.09.21</c:v>
                </c:pt>
                <c:pt idx="45">
                  <c:v>06.09.21</c:v>
                </c:pt>
                <c:pt idx="46">
                  <c:v>07.09.21</c:v>
                </c:pt>
                <c:pt idx="47">
                  <c:v>08.09.21</c:v>
                </c:pt>
                <c:pt idx="48">
                  <c:v>09.09.21</c:v>
                </c:pt>
                <c:pt idx="49">
                  <c:v>10.09.21</c:v>
                </c:pt>
                <c:pt idx="50">
                  <c:v>11.09.21</c:v>
                </c:pt>
                <c:pt idx="51">
                  <c:v>12.09.21</c:v>
                </c:pt>
                <c:pt idx="52">
                  <c:v>13.09.21</c:v>
                </c:pt>
                <c:pt idx="53">
                  <c:v>14.09.21</c:v>
                </c:pt>
                <c:pt idx="54">
                  <c:v>15.09.21</c:v>
                </c:pt>
                <c:pt idx="55">
                  <c:v>16.09.21</c:v>
                </c:pt>
                <c:pt idx="56">
                  <c:v>17.09.21</c:v>
                </c:pt>
                <c:pt idx="57">
                  <c:v>18.09.21</c:v>
                </c:pt>
                <c:pt idx="58">
                  <c:v>19.09.21</c:v>
                </c:pt>
                <c:pt idx="59">
                  <c:v>20.09.21</c:v>
                </c:pt>
                <c:pt idx="60">
                  <c:v>21.09.21</c:v>
                </c:pt>
                <c:pt idx="61">
                  <c:v>22.09.21</c:v>
                </c:pt>
                <c:pt idx="62">
                  <c:v>23.09.21</c:v>
                </c:pt>
                <c:pt idx="63">
                  <c:v>24.09.21</c:v>
                </c:pt>
                <c:pt idx="64">
                  <c:v>25.09.21</c:v>
                </c:pt>
                <c:pt idx="65">
                  <c:v>26.09.21</c:v>
                </c:pt>
                <c:pt idx="66">
                  <c:v>27.09.21</c:v>
                </c:pt>
                <c:pt idx="67">
                  <c:v>28.09.21</c:v>
                </c:pt>
                <c:pt idx="68">
                  <c:v>29.09.21</c:v>
                </c:pt>
                <c:pt idx="69">
                  <c:v>30.09.21</c:v>
                </c:pt>
                <c:pt idx="70">
                  <c:v>01.10.21</c:v>
                </c:pt>
                <c:pt idx="71">
                  <c:v>02.10.21</c:v>
                </c:pt>
                <c:pt idx="72">
                  <c:v>03.10.21</c:v>
                </c:pt>
                <c:pt idx="73">
                  <c:v>04.10.21</c:v>
                </c:pt>
                <c:pt idx="74">
                  <c:v>05.10.21</c:v>
                </c:pt>
                <c:pt idx="75">
                  <c:v>06.10.21</c:v>
                </c:pt>
                <c:pt idx="76">
                  <c:v>07.10.21</c:v>
                </c:pt>
                <c:pt idx="77">
                  <c:v>08.10.21</c:v>
                </c:pt>
                <c:pt idx="78">
                  <c:v>09.10.21</c:v>
                </c:pt>
                <c:pt idx="79">
                  <c:v>10.10.21</c:v>
                </c:pt>
                <c:pt idx="80">
                  <c:v>11.10.21</c:v>
                </c:pt>
                <c:pt idx="81">
                  <c:v>12.10.21</c:v>
                </c:pt>
                <c:pt idx="82">
                  <c:v>13.10.21</c:v>
                </c:pt>
                <c:pt idx="83">
                  <c:v>14.10.21</c:v>
                </c:pt>
                <c:pt idx="84">
                  <c:v>15.10.21</c:v>
                </c:pt>
                <c:pt idx="85">
                  <c:v>16.10.21</c:v>
                </c:pt>
                <c:pt idx="86">
                  <c:v>17.10.21</c:v>
                </c:pt>
                <c:pt idx="87">
                  <c:v>18.10.21</c:v>
                </c:pt>
                <c:pt idx="88">
                  <c:v>19.10.21</c:v>
                </c:pt>
                <c:pt idx="89">
                  <c:v>20.10.21</c:v>
                </c:pt>
                <c:pt idx="90">
                  <c:v>21.10.21</c:v>
                </c:pt>
                <c:pt idx="91">
                  <c:v>22.10.21</c:v>
                </c:pt>
                <c:pt idx="92">
                  <c:v>23.10.21</c:v>
                </c:pt>
                <c:pt idx="93">
                  <c:v>24.10.21</c:v>
                </c:pt>
                <c:pt idx="94">
                  <c:v>25.10.21</c:v>
                </c:pt>
                <c:pt idx="95">
                  <c:v>26.10.21</c:v>
                </c:pt>
                <c:pt idx="96">
                  <c:v>27.10.21</c:v>
                </c:pt>
                <c:pt idx="97">
                  <c:v>28.10.21</c:v>
                </c:pt>
                <c:pt idx="98">
                  <c:v>29.10.21</c:v>
                </c:pt>
                <c:pt idx="99">
                  <c:v>30.10.21</c:v>
                </c:pt>
                <c:pt idx="100">
                  <c:v>31.10.21</c:v>
                </c:pt>
                <c:pt idx="101">
                  <c:v>01.11.21</c:v>
                </c:pt>
                <c:pt idx="102">
                  <c:v>02.11.21</c:v>
                </c:pt>
                <c:pt idx="103">
                  <c:v>03.11.21</c:v>
                </c:pt>
                <c:pt idx="104">
                  <c:v>04.11.21</c:v>
                </c:pt>
                <c:pt idx="105">
                  <c:v>05.11.21</c:v>
                </c:pt>
                <c:pt idx="106">
                  <c:v>06.11.21</c:v>
                </c:pt>
                <c:pt idx="107">
                  <c:v>07.11.21</c:v>
                </c:pt>
                <c:pt idx="108">
                  <c:v>08.11.21</c:v>
                </c:pt>
                <c:pt idx="109">
                  <c:v>09.11.21</c:v>
                </c:pt>
                <c:pt idx="110">
                  <c:v>10.11.21</c:v>
                </c:pt>
                <c:pt idx="111">
                  <c:v>11.11.21</c:v>
                </c:pt>
                <c:pt idx="112">
                  <c:v>12.11.21</c:v>
                </c:pt>
                <c:pt idx="113">
                  <c:v>13.11.21</c:v>
                </c:pt>
                <c:pt idx="114">
                  <c:v>14.11.21</c:v>
                </c:pt>
                <c:pt idx="115">
                  <c:v>15.11.21</c:v>
                </c:pt>
                <c:pt idx="116">
                  <c:v>16.11.21</c:v>
                </c:pt>
                <c:pt idx="117">
                  <c:v>17.11.21</c:v>
                </c:pt>
                <c:pt idx="118">
                  <c:v>18.11.21</c:v>
                </c:pt>
                <c:pt idx="119">
                  <c:v>19.11.21</c:v>
                </c:pt>
                <c:pt idx="120">
                  <c:v>20.11.21</c:v>
                </c:pt>
                <c:pt idx="121">
                  <c:v>21.11.21</c:v>
                </c:pt>
                <c:pt idx="122">
                  <c:v>22.11.21</c:v>
                </c:pt>
                <c:pt idx="123">
                  <c:v>23.11.21</c:v>
                </c:pt>
                <c:pt idx="124">
                  <c:v>24.11.21</c:v>
                </c:pt>
                <c:pt idx="125">
                  <c:v>25.11.21</c:v>
                </c:pt>
                <c:pt idx="126">
                  <c:v>26.11.21</c:v>
                </c:pt>
                <c:pt idx="127">
                  <c:v>27.11.21</c:v>
                </c:pt>
                <c:pt idx="128">
                  <c:v>28.11.21</c:v>
                </c:pt>
                <c:pt idx="129">
                  <c:v>29.11.21</c:v>
                </c:pt>
                <c:pt idx="130">
                  <c:v>30.11.21</c:v>
                </c:pt>
                <c:pt idx="131">
                  <c:v>01.12.21</c:v>
                </c:pt>
                <c:pt idx="132">
                  <c:v>02.12.21</c:v>
                </c:pt>
                <c:pt idx="133">
                  <c:v>03.12.21</c:v>
                </c:pt>
                <c:pt idx="134">
                  <c:v>04.12.21</c:v>
                </c:pt>
                <c:pt idx="135">
                  <c:v>05.12.21</c:v>
                </c:pt>
                <c:pt idx="136">
                  <c:v>06.12.21</c:v>
                </c:pt>
                <c:pt idx="137">
                  <c:v>07.12.21</c:v>
                </c:pt>
                <c:pt idx="138">
                  <c:v>08.12.21</c:v>
                </c:pt>
                <c:pt idx="139">
                  <c:v>09.12.21</c:v>
                </c:pt>
                <c:pt idx="140">
                  <c:v>10.12.21</c:v>
                </c:pt>
                <c:pt idx="141">
                  <c:v>11.12.21</c:v>
                </c:pt>
                <c:pt idx="142">
                  <c:v>12.12.21</c:v>
                </c:pt>
                <c:pt idx="143">
                  <c:v>13.12.21</c:v>
                </c:pt>
                <c:pt idx="144">
                  <c:v>14.12.21</c:v>
                </c:pt>
                <c:pt idx="145">
                  <c:v>15.12.21</c:v>
                </c:pt>
                <c:pt idx="146">
                  <c:v>16.12.21</c:v>
                </c:pt>
                <c:pt idx="147">
                  <c:v>17.12.21</c:v>
                </c:pt>
                <c:pt idx="148">
                  <c:v>18.12.21</c:v>
                </c:pt>
                <c:pt idx="149">
                  <c:v>19.12.21</c:v>
                </c:pt>
                <c:pt idx="150">
                  <c:v>20.12.21</c:v>
                </c:pt>
                <c:pt idx="151">
                  <c:v>21.12.21</c:v>
                </c:pt>
                <c:pt idx="152">
                  <c:v>22.12.21</c:v>
                </c:pt>
                <c:pt idx="153">
                  <c:v>23.12.21</c:v>
                </c:pt>
                <c:pt idx="154">
                  <c:v>24.12.21</c:v>
                </c:pt>
                <c:pt idx="155">
                  <c:v>25.12.21</c:v>
                </c:pt>
                <c:pt idx="156">
                  <c:v>26.12.21</c:v>
                </c:pt>
                <c:pt idx="157">
                  <c:v>27.12.21</c:v>
                </c:pt>
                <c:pt idx="158">
                  <c:v>28.12.21</c:v>
                </c:pt>
                <c:pt idx="159">
                  <c:v>29.12.21</c:v>
                </c:pt>
                <c:pt idx="160">
                  <c:v>30.12.21</c:v>
                </c:pt>
                <c:pt idx="161">
                  <c:v>31.12.21</c:v>
                </c:pt>
                <c:pt idx="162">
                  <c:v>01.01.22</c:v>
                </c:pt>
                <c:pt idx="163">
                  <c:v>02.01.22</c:v>
                </c:pt>
                <c:pt idx="164">
                  <c:v>03.01.22</c:v>
                </c:pt>
                <c:pt idx="165">
                  <c:v>04.01.22</c:v>
                </c:pt>
                <c:pt idx="166">
                  <c:v>05.01.22</c:v>
                </c:pt>
                <c:pt idx="167">
                  <c:v>06.01.22</c:v>
                </c:pt>
                <c:pt idx="168">
                  <c:v>07.01.22</c:v>
                </c:pt>
                <c:pt idx="169">
                  <c:v>08.01.22</c:v>
                </c:pt>
                <c:pt idx="170">
                  <c:v>09.01.22</c:v>
                </c:pt>
                <c:pt idx="171">
                  <c:v>10.01.22</c:v>
                </c:pt>
                <c:pt idx="172">
                  <c:v>11.01.22</c:v>
                </c:pt>
                <c:pt idx="173">
                  <c:v>12.01.22</c:v>
                </c:pt>
                <c:pt idx="174">
                  <c:v>13.01.22</c:v>
                </c:pt>
                <c:pt idx="175">
                  <c:v>14.01.22</c:v>
                </c:pt>
                <c:pt idx="176">
                  <c:v>15.01.22</c:v>
                </c:pt>
                <c:pt idx="177">
                  <c:v>16.01.22</c:v>
                </c:pt>
                <c:pt idx="178">
                  <c:v>17.01.22</c:v>
                </c:pt>
                <c:pt idx="179">
                  <c:v>18.01.22</c:v>
                </c:pt>
                <c:pt idx="180">
                  <c:v>19.01.22</c:v>
                </c:pt>
                <c:pt idx="181">
                  <c:v>20.01.22</c:v>
                </c:pt>
                <c:pt idx="182">
                  <c:v>21.01.22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57</c:v>
                </c:pt>
                <c:pt idx="1">
                  <c:v>58</c:v>
                </c:pt>
                <c:pt idx="2">
                  <c:v>59</c:v>
                </c:pt>
                <c:pt idx="3">
                  <c:v>58</c:v>
                </c:pt>
                <c:pt idx="4">
                  <c:v>56</c:v>
                </c:pt>
                <c:pt idx="5">
                  <c:v>55</c:v>
                </c:pt>
                <c:pt idx="6">
                  <c:v>54</c:v>
                </c:pt>
                <c:pt idx="7">
                  <c:v>55</c:v>
                </c:pt>
                <c:pt idx="8">
                  <c:v>55</c:v>
                </c:pt>
                <c:pt idx="9">
                  <c:v>55</c:v>
                </c:pt>
                <c:pt idx="10">
                  <c:v>51</c:v>
                </c:pt>
                <c:pt idx="11">
                  <c:v>53</c:v>
                </c:pt>
                <c:pt idx="12">
                  <c:v>51</c:v>
                </c:pt>
                <c:pt idx="13">
                  <c:v>50</c:v>
                </c:pt>
                <c:pt idx="14">
                  <c:v>47</c:v>
                </c:pt>
                <c:pt idx="15">
                  <c:v>46</c:v>
                </c:pt>
                <c:pt idx="16">
                  <c:v>43</c:v>
                </c:pt>
                <c:pt idx="17">
                  <c:v>45</c:v>
                </c:pt>
                <c:pt idx="18">
                  <c:v>47</c:v>
                </c:pt>
                <c:pt idx="19">
                  <c:v>49</c:v>
                </c:pt>
                <c:pt idx="20">
                  <c:v>49</c:v>
                </c:pt>
                <c:pt idx="21">
                  <c:v>51</c:v>
                </c:pt>
                <c:pt idx="22">
                  <c:v>52</c:v>
                </c:pt>
                <c:pt idx="23">
                  <c:v>53</c:v>
                </c:pt>
                <c:pt idx="24">
                  <c:v>55</c:v>
                </c:pt>
                <c:pt idx="25">
                  <c:v>57</c:v>
                </c:pt>
                <c:pt idx="26">
                  <c:v>58</c:v>
                </c:pt>
                <c:pt idx="27">
                  <c:v>58</c:v>
                </c:pt>
                <c:pt idx="28">
                  <c:v>58</c:v>
                </c:pt>
                <c:pt idx="29">
                  <c:v>58</c:v>
                </c:pt>
                <c:pt idx="30">
                  <c:v>58</c:v>
                </c:pt>
                <c:pt idx="31">
                  <c:v>60</c:v>
                </c:pt>
                <c:pt idx="32">
                  <c:v>61</c:v>
                </c:pt>
                <c:pt idx="33">
                  <c:v>58</c:v>
                </c:pt>
                <c:pt idx="34">
                  <c:v>59</c:v>
                </c:pt>
                <c:pt idx="35">
                  <c:v>58</c:v>
                </c:pt>
                <c:pt idx="36">
                  <c:v>58</c:v>
                </c:pt>
                <c:pt idx="37">
                  <c:v>57</c:v>
                </c:pt>
                <c:pt idx="38">
                  <c:v>52</c:v>
                </c:pt>
                <c:pt idx="39">
                  <c:v>53</c:v>
                </c:pt>
                <c:pt idx="40">
                  <c:v>51</c:v>
                </c:pt>
                <c:pt idx="41">
                  <c:v>56</c:v>
                </c:pt>
                <c:pt idx="42">
                  <c:v>62</c:v>
                </c:pt>
                <c:pt idx="43">
                  <c:v>63</c:v>
                </c:pt>
                <c:pt idx="44">
                  <c:v>61</c:v>
                </c:pt>
                <c:pt idx="45">
                  <c:v>59</c:v>
                </c:pt>
                <c:pt idx="46">
                  <c:v>65</c:v>
                </c:pt>
                <c:pt idx="47">
                  <c:v>65</c:v>
                </c:pt>
                <c:pt idx="48">
                  <c:v>67</c:v>
                </c:pt>
                <c:pt idx="49">
                  <c:v>67</c:v>
                </c:pt>
                <c:pt idx="50">
                  <c:v>66</c:v>
                </c:pt>
                <c:pt idx="51">
                  <c:v>67</c:v>
                </c:pt>
                <c:pt idx="52">
                  <c:v>68</c:v>
                </c:pt>
                <c:pt idx="53">
                  <c:v>71</c:v>
                </c:pt>
                <c:pt idx="54">
                  <c:v>73</c:v>
                </c:pt>
                <c:pt idx="55">
                  <c:v>75</c:v>
                </c:pt>
                <c:pt idx="56">
                  <c:v>74</c:v>
                </c:pt>
                <c:pt idx="57">
                  <c:v>76</c:v>
                </c:pt>
                <c:pt idx="58">
                  <c:v>77</c:v>
                </c:pt>
                <c:pt idx="59">
                  <c:v>83</c:v>
                </c:pt>
                <c:pt idx="60">
                  <c:v>85</c:v>
                </c:pt>
                <c:pt idx="61">
                  <c:v>90</c:v>
                </c:pt>
                <c:pt idx="62">
                  <c:v>93</c:v>
                </c:pt>
                <c:pt idx="63">
                  <c:v>100</c:v>
                </c:pt>
                <c:pt idx="64">
                  <c:v>106</c:v>
                </c:pt>
                <c:pt idx="65">
                  <c:v>108</c:v>
                </c:pt>
                <c:pt idx="66">
                  <c:v>109</c:v>
                </c:pt>
                <c:pt idx="67">
                  <c:v>114</c:v>
                </c:pt>
                <c:pt idx="68">
                  <c:v>120</c:v>
                </c:pt>
                <c:pt idx="69">
                  <c:v>128</c:v>
                </c:pt>
                <c:pt idx="70">
                  <c:v>130</c:v>
                </c:pt>
                <c:pt idx="71">
                  <c:v>131</c:v>
                </c:pt>
                <c:pt idx="72">
                  <c:v>137</c:v>
                </c:pt>
                <c:pt idx="73">
                  <c:v>136</c:v>
                </c:pt>
                <c:pt idx="74">
                  <c:v>144</c:v>
                </c:pt>
                <c:pt idx="75">
                  <c:v>148</c:v>
                </c:pt>
                <c:pt idx="76">
                  <c:v>150</c:v>
                </c:pt>
                <c:pt idx="77">
                  <c:v>151</c:v>
                </c:pt>
                <c:pt idx="78">
                  <c:v>151</c:v>
                </c:pt>
                <c:pt idx="79">
                  <c:v>149</c:v>
                </c:pt>
                <c:pt idx="80">
                  <c:v>160</c:v>
                </c:pt>
                <c:pt idx="81">
                  <c:v>172</c:v>
                </c:pt>
                <c:pt idx="82">
                  <c:v>173</c:v>
                </c:pt>
                <c:pt idx="83">
                  <c:v>183</c:v>
                </c:pt>
                <c:pt idx="84">
                  <c:v>193</c:v>
                </c:pt>
                <c:pt idx="85">
                  <c:v>198</c:v>
                </c:pt>
                <c:pt idx="86">
                  <c:v>201</c:v>
                </c:pt>
                <c:pt idx="87">
                  <c:v>223</c:v>
                </c:pt>
                <c:pt idx="88">
                  <c:v>234</c:v>
                </c:pt>
                <c:pt idx="89">
                  <c:v>250</c:v>
                </c:pt>
                <c:pt idx="90">
                  <c:v>289</c:v>
                </c:pt>
                <c:pt idx="91">
                  <c:v>316</c:v>
                </c:pt>
                <c:pt idx="92">
                  <c:v>345</c:v>
                </c:pt>
                <c:pt idx="93">
                  <c:v>348</c:v>
                </c:pt>
                <c:pt idx="94">
                  <c:v>391</c:v>
                </c:pt>
                <c:pt idx="95">
                  <c:v>437</c:v>
                </c:pt>
                <c:pt idx="96">
                  <c:v>488</c:v>
                </c:pt>
                <c:pt idx="97">
                  <c:v>503</c:v>
                </c:pt>
                <c:pt idx="98">
                  <c:v>562</c:v>
                </c:pt>
                <c:pt idx="99">
                  <c:v>609</c:v>
                </c:pt>
                <c:pt idx="100">
                  <c:v>636</c:v>
                </c:pt>
                <c:pt idx="101">
                  <c:v>698</c:v>
                </c:pt>
                <c:pt idx="102">
                  <c:v>779</c:v>
                </c:pt>
                <c:pt idx="103">
                  <c:v>852</c:v>
                </c:pt>
                <c:pt idx="104">
                  <c:v>895</c:v>
                </c:pt>
                <c:pt idx="105">
                  <c:v>969</c:v>
                </c:pt>
                <c:pt idx="106">
                  <c:v>1025</c:v>
                </c:pt>
                <c:pt idx="107">
                  <c:v>1027</c:v>
                </c:pt>
                <c:pt idx="108">
                  <c:v>1067</c:v>
                </c:pt>
                <c:pt idx="109">
                  <c:v>1146</c:v>
                </c:pt>
                <c:pt idx="110">
                  <c:v>1246</c:v>
                </c:pt>
                <c:pt idx="111">
                  <c:v>1301</c:v>
                </c:pt>
                <c:pt idx="112">
                  <c:v>1368</c:v>
                </c:pt>
                <c:pt idx="113">
                  <c:v>1405</c:v>
                </c:pt>
                <c:pt idx="114">
                  <c:v>1414</c:v>
                </c:pt>
                <c:pt idx="115">
                  <c:v>1447</c:v>
                </c:pt>
                <c:pt idx="116">
                  <c:v>1559</c:v>
                </c:pt>
                <c:pt idx="117">
                  <c:v>1561</c:v>
                </c:pt>
                <c:pt idx="118">
                  <c:v>1615</c:v>
                </c:pt>
                <c:pt idx="119">
                  <c:v>1716</c:v>
                </c:pt>
                <c:pt idx="120">
                  <c:v>1812</c:v>
                </c:pt>
                <c:pt idx="121">
                  <c:v>1857</c:v>
                </c:pt>
                <c:pt idx="122">
                  <c:v>1871</c:v>
                </c:pt>
                <c:pt idx="123">
                  <c:v>1979</c:v>
                </c:pt>
                <c:pt idx="124">
                  <c:v>1966</c:v>
                </c:pt>
                <c:pt idx="125">
                  <c:v>2050</c:v>
                </c:pt>
                <c:pt idx="126">
                  <c:v>2086</c:v>
                </c:pt>
                <c:pt idx="127">
                  <c:v>2124</c:v>
                </c:pt>
                <c:pt idx="128">
                  <c:v>2148</c:v>
                </c:pt>
                <c:pt idx="129">
                  <c:v>2102</c:v>
                </c:pt>
                <c:pt idx="130">
                  <c:v>2076</c:v>
                </c:pt>
                <c:pt idx="131">
                  <c:v>2158</c:v>
                </c:pt>
                <c:pt idx="132">
                  <c:v>2080</c:v>
                </c:pt>
                <c:pt idx="133">
                  <c:v>1979</c:v>
                </c:pt>
                <c:pt idx="134">
                  <c:v>1984</c:v>
                </c:pt>
                <c:pt idx="135">
                  <c:v>1966</c:v>
                </c:pt>
                <c:pt idx="136">
                  <c:v>1827</c:v>
                </c:pt>
                <c:pt idx="137">
                  <c:v>1774</c:v>
                </c:pt>
                <c:pt idx="138">
                  <c:v>1719</c:v>
                </c:pt>
                <c:pt idx="139">
                  <c:v>1689</c:v>
                </c:pt>
                <c:pt idx="140">
                  <c:v>1623</c:v>
                </c:pt>
                <c:pt idx="141">
                  <c:v>1623</c:v>
                </c:pt>
                <c:pt idx="142">
                  <c:v>1610</c:v>
                </c:pt>
                <c:pt idx="143">
                  <c:v>1469</c:v>
                </c:pt>
                <c:pt idx="144">
                  <c:v>1442</c:v>
                </c:pt>
                <c:pt idx="145">
                  <c:v>1382</c:v>
                </c:pt>
                <c:pt idx="146">
                  <c:v>1318</c:v>
                </c:pt>
                <c:pt idx="147">
                  <c:v>1259</c:v>
                </c:pt>
                <c:pt idx="148">
                  <c:v>1244</c:v>
                </c:pt>
                <c:pt idx="149">
                  <c:v>1213</c:v>
                </c:pt>
                <c:pt idx="150">
                  <c:v>1106</c:v>
                </c:pt>
                <c:pt idx="151">
                  <c:v>1054</c:v>
                </c:pt>
                <c:pt idx="152">
                  <c:v>1003</c:v>
                </c:pt>
                <c:pt idx="153">
                  <c:v>962</c:v>
                </c:pt>
                <c:pt idx="154">
                  <c:v>870</c:v>
                </c:pt>
                <c:pt idx="155">
                  <c:v>836</c:v>
                </c:pt>
                <c:pt idx="156">
                  <c:v>796</c:v>
                </c:pt>
                <c:pt idx="157">
                  <c:v>735</c:v>
                </c:pt>
                <c:pt idx="158">
                  <c:v>735</c:v>
                </c:pt>
                <c:pt idx="159">
                  <c:v>718</c:v>
                </c:pt>
                <c:pt idx="160">
                  <c:v>693</c:v>
                </c:pt>
                <c:pt idx="161">
                  <c:v>670</c:v>
                </c:pt>
                <c:pt idx="162">
                  <c:v>649</c:v>
                </c:pt>
                <c:pt idx="163">
                  <c:v>645</c:v>
                </c:pt>
                <c:pt idx="164">
                  <c:v>623</c:v>
                </c:pt>
                <c:pt idx="165">
                  <c:v>634</c:v>
                </c:pt>
                <c:pt idx="166">
                  <c:v>621</c:v>
                </c:pt>
                <c:pt idx="167">
                  <c:v>626</c:v>
                </c:pt>
                <c:pt idx="168">
                  <c:v>668</c:v>
                </c:pt>
                <c:pt idx="169">
                  <c:v>684</c:v>
                </c:pt>
                <c:pt idx="170">
                  <c:v>679</c:v>
                </c:pt>
                <c:pt idx="171">
                  <c:v>640</c:v>
                </c:pt>
                <c:pt idx="172">
                  <c:v>669</c:v>
                </c:pt>
                <c:pt idx="173">
                  <c:v>701</c:v>
                </c:pt>
                <c:pt idx="174">
                  <c:v>735</c:v>
                </c:pt>
                <c:pt idx="175">
                  <c:v>781</c:v>
                </c:pt>
                <c:pt idx="176">
                  <c:v>840</c:v>
                </c:pt>
                <c:pt idx="177">
                  <c:v>839</c:v>
                </c:pt>
                <c:pt idx="178">
                  <c:v>929</c:v>
                </c:pt>
                <c:pt idx="179">
                  <c:v>1127</c:v>
                </c:pt>
                <c:pt idx="180">
                  <c:v>1312</c:v>
                </c:pt>
                <c:pt idx="181">
                  <c:v>1517</c:v>
                </c:pt>
                <c:pt idx="182">
                  <c:v>16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7CD-4BA3-857E-B86804E5EE0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-4.662547463082748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23.07.21</c:v>
                </c:pt>
                <c:pt idx="1">
                  <c:v>24.07.21</c:v>
                </c:pt>
                <c:pt idx="2">
                  <c:v>25.07.21</c:v>
                </c:pt>
                <c:pt idx="3">
                  <c:v>26.07.21</c:v>
                </c:pt>
                <c:pt idx="4">
                  <c:v>27.07.21</c:v>
                </c:pt>
                <c:pt idx="5">
                  <c:v>28.07.21</c:v>
                </c:pt>
                <c:pt idx="6">
                  <c:v>29.07.21</c:v>
                </c:pt>
                <c:pt idx="7">
                  <c:v>30.07.21</c:v>
                </c:pt>
                <c:pt idx="8">
                  <c:v>31.07.21</c:v>
                </c:pt>
                <c:pt idx="9">
                  <c:v>01.08.21</c:v>
                </c:pt>
                <c:pt idx="10">
                  <c:v>02.08.21</c:v>
                </c:pt>
                <c:pt idx="11">
                  <c:v>03.08.21</c:v>
                </c:pt>
                <c:pt idx="12">
                  <c:v>04.08.21</c:v>
                </c:pt>
                <c:pt idx="13">
                  <c:v>05.08.21</c:v>
                </c:pt>
                <c:pt idx="14">
                  <c:v>06.08.21</c:v>
                </c:pt>
                <c:pt idx="15">
                  <c:v>07.08.21</c:v>
                </c:pt>
                <c:pt idx="16">
                  <c:v>08.08.21</c:v>
                </c:pt>
                <c:pt idx="17">
                  <c:v>09.08.21</c:v>
                </c:pt>
                <c:pt idx="18">
                  <c:v>10.08.21</c:v>
                </c:pt>
                <c:pt idx="19">
                  <c:v>11.08.21</c:v>
                </c:pt>
                <c:pt idx="20">
                  <c:v>12.08.21</c:v>
                </c:pt>
                <c:pt idx="21">
                  <c:v>13.08.21</c:v>
                </c:pt>
                <c:pt idx="22">
                  <c:v>14.08.21</c:v>
                </c:pt>
                <c:pt idx="23">
                  <c:v>15.08.21</c:v>
                </c:pt>
                <c:pt idx="24">
                  <c:v>16.08.21</c:v>
                </c:pt>
                <c:pt idx="25">
                  <c:v>17.08.21</c:v>
                </c:pt>
                <c:pt idx="26">
                  <c:v>18.08.21</c:v>
                </c:pt>
                <c:pt idx="27">
                  <c:v>19.08.21</c:v>
                </c:pt>
                <c:pt idx="28">
                  <c:v>20.08.21</c:v>
                </c:pt>
                <c:pt idx="29">
                  <c:v>21.08.21</c:v>
                </c:pt>
                <c:pt idx="30">
                  <c:v>22.08.21</c:v>
                </c:pt>
                <c:pt idx="31">
                  <c:v>23.08.21</c:v>
                </c:pt>
                <c:pt idx="32">
                  <c:v>24.08.21</c:v>
                </c:pt>
                <c:pt idx="33">
                  <c:v>25.08.21</c:v>
                </c:pt>
                <c:pt idx="34">
                  <c:v>26.08.21</c:v>
                </c:pt>
                <c:pt idx="35">
                  <c:v>27.08.21</c:v>
                </c:pt>
                <c:pt idx="36">
                  <c:v>28.08.21</c:v>
                </c:pt>
                <c:pt idx="37">
                  <c:v>29.08.21</c:v>
                </c:pt>
                <c:pt idx="38">
                  <c:v>30.08.21</c:v>
                </c:pt>
                <c:pt idx="39">
                  <c:v>31.08.21</c:v>
                </c:pt>
                <c:pt idx="40">
                  <c:v>01.09.21</c:v>
                </c:pt>
                <c:pt idx="41">
                  <c:v>02.09.21</c:v>
                </c:pt>
                <c:pt idx="42">
                  <c:v>03.09.21</c:v>
                </c:pt>
                <c:pt idx="43">
                  <c:v>04.09.21</c:v>
                </c:pt>
                <c:pt idx="44">
                  <c:v>05.09.21</c:v>
                </c:pt>
                <c:pt idx="45">
                  <c:v>06.09.21</c:v>
                </c:pt>
                <c:pt idx="46">
                  <c:v>07.09.21</c:v>
                </c:pt>
                <c:pt idx="47">
                  <c:v>08.09.21</c:v>
                </c:pt>
                <c:pt idx="48">
                  <c:v>09.09.21</c:v>
                </c:pt>
                <c:pt idx="49">
                  <c:v>10.09.21</c:v>
                </c:pt>
                <c:pt idx="50">
                  <c:v>11.09.21</c:v>
                </c:pt>
                <c:pt idx="51">
                  <c:v>12.09.21</c:v>
                </c:pt>
                <c:pt idx="52">
                  <c:v>13.09.21</c:v>
                </c:pt>
                <c:pt idx="53">
                  <c:v>14.09.21</c:v>
                </c:pt>
                <c:pt idx="54">
                  <c:v>15.09.21</c:v>
                </c:pt>
                <c:pt idx="55">
                  <c:v>16.09.21</c:v>
                </c:pt>
                <c:pt idx="56">
                  <c:v>17.09.21</c:v>
                </c:pt>
                <c:pt idx="57">
                  <c:v>18.09.21</c:v>
                </c:pt>
                <c:pt idx="58">
                  <c:v>19.09.21</c:v>
                </c:pt>
                <c:pt idx="59">
                  <c:v>20.09.21</c:v>
                </c:pt>
                <c:pt idx="60">
                  <c:v>21.09.21</c:v>
                </c:pt>
                <c:pt idx="61">
                  <c:v>22.09.21</c:v>
                </c:pt>
                <c:pt idx="62">
                  <c:v>23.09.21</c:v>
                </c:pt>
                <c:pt idx="63">
                  <c:v>24.09.21</c:v>
                </c:pt>
                <c:pt idx="64">
                  <c:v>25.09.21</c:v>
                </c:pt>
                <c:pt idx="65">
                  <c:v>26.09.21</c:v>
                </c:pt>
                <c:pt idx="66">
                  <c:v>27.09.21</c:v>
                </c:pt>
                <c:pt idx="67">
                  <c:v>28.09.21</c:v>
                </c:pt>
                <c:pt idx="68">
                  <c:v>29.09.21</c:v>
                </c:pt>
                <c:pt idx="69">
                  <c:v>30.09.21</c:v>
                </c:pt>
                <c:pt idx="70">
                  <c:v>01.10.21</c:v>
                </c:pt>
                <c:pt idx="71">
                  <c:v>02.10.21</c:v>
                </c:pt>
                <c:pt idx="72">
                  <c:v>03.10.21</c:v>
                </c:pt>
                <c:pt idx="73">
                  <c:v>04.10.21</c:v>
                </c:pt>
                <c:pt idx="74">
                  <c:v>05.10.21</c:v>
                </c:pt>
                <c:pt idx="75">
                  <c:v>06.10.21</c:v>
                </c:pt>
                <c:pt idx="76">
                  <c:v>07.10.21</c:v>
                </c:pt>
                <c:pt idx="77">
                  <c:v>08.10.21</c:v>
                </c:pt>
                <c:pt idx="78">
                  <c:v>09.10.21</c:v>
                </c:pt>
                <c:pt idx="79">
                  <c:v>10.10.21</c:v>
                </c:pt>
                <c:pt idx="80">
                  <c:v>11.10.21</c:v>
                </c:pt>
                <c:pt idx="81">
                  <c:v>12.10.21</c:v>
                </c:pt>
                <c:pt idx="82">
                  <c:v>13.10.21</c:v>
                </c:pt>
                <c:pt idx="83">
                  <c:v>14.10.21</c:v>
                </c:pt>
                <c:pt idx="84">
                  <c:v>15.10.21</c:v>
                </c:pt>
                <c:pt idx="85">
                  <c:v>16.10.21</c:v>
                </c:pt>
                <c:pt idx="86">
                  <c:v>17.10.21</c:v>
                </c:pt>
                <c:pt idx="87">
                  <c:v>18.10.21</c:v>
                </c:pt>
                <c:pt idx="88">
                  <c:v>19.10.21</c:v>
                </c:pt>
                <c:pt idx="89">
                  <c:v>20.10.21</c:v>
                </c:pt>
                <c:pt idx="90">
                  <c:v>21.10.21</c:v>
                </c:pt>
                <c:pt idx="91">
                  <c:v>22.10.21</c:v>
                </c:pt>
                <c:pt idx="92">
                  <c:v>23.10.21</c:v>
                </c:pt>
                <c:pt idx="93">
                  <c:v>24.10.21</c:v>
                </c:pt>
                <c:pt idx="94">
                  <c:v>25.10.21</c:v>
                </c:pt>
                <c:pt idx="95">
                  <c:v>26.10.21</c:v>
                </c:pt>
                <c:pt idx="96">
                  <c:v>27.10.21</c:v>
                </c:pt>
                <c:pt idx="97">
                  <c:v>28.10.21</c:v>
                </c:pt>
                <c:pt idx="98">
                  <c:v>29.10.21</c:v>
                </c:pt>
                <c:pt idx="99">
                  <c:v>30.10.21</c:v>
                </c:pt>
                <c:pt idx="100">
                  <c:v>31.10.21</c:v>
                </c:pt>
                <c:pt idx="101">
                  <c:v>01.11.21</c:v>
                </c:pt>
                <c:pt idx="102">
                  <c:v>02.11.21</c:v>
                </c:pt>
                <c:pt idx="103">
                  <c:v>03.11.21</c:v>
                </c:pt>
                <c:pt idx="104">
                  <c:v>04.11.21</c:v>
                </c:pt>
                <c:pt idx="105">
                  <c:v>05.11.21</c:v>
                </c:pt>
                <c:pt idx="106">
                  <c:v>06.11.21</c:v>
                </c:pt>
                <c:pt idx="107">
                  <c:v>07.11.21</c:v>
                </c:pt>
                <c:pt idx="108">
                  <c:v>08.11.21</c:v>
                </c:pt>
                <c:pt idx="109">
                  <c:v>09.11.21</c:v>
                </c:pt>
                <c:pt idx="110">
                  <c:v>10.11.21</c:v>
                </c:pt>
                <c:pt idx="111">
                  <c:v>11.11.21</c:v>
                </c:pt>
                <c:pt idx="112">
                  <c:v>12.11.21</c:v>
                </c:pt>
                <c:pt idx="113">
                  <c:v>13.11.21</c:v>
                </c:pt>
                <c:pt idx="114">
                  <c:v>14.11.21</c:v>
                </c:pt>
                <c:pt idx="115">
                  <c:v>15.11.21</c:v>
                </c:pt>
                <c:pt idx="116">
                  <c:v>16.11.21</c:v>
                </c:pt>
                <c:pt idx="117">
                  <c:v>17.11.21</c:v>
                </c:pt>
                <c:pt idx="118">
                  <c:v>18.11.21</c:v>
                </c:pt>
                <c:pt idx="119">
                  <c:v>19.11.21</c:v>
                </c:pt>
                <c:pt idx="120">
                  <c:v>20.11.21</c:v>
                </c:pt>
                <c:pt idx="121">
                  <c:v>21.11.21</c:v>
                </c:pt>
                <c:pt idx="122">
                  <c:v>22.11.21</c:v>
                </c:pt>
                <c:pt idx="123">
                  <c:v>23.11.21</c:v>
                </c:pt>
                <c:pt idx="124">
                  <c:v>24.11.21</c:v>
                </c:pt>
                <c:pt idx="125">
                  <c:v>25.11.21</c:v>
                </c:pt>
                <c:pt idx="126">
                  <c:v>26.11.21</c:v>
                </c:pt>
                <c:pt idx="127">
                  <c:v>27.11.21</c:v>
                </c:pt>
                <c:pt idx="128">
                  <c:v>28.11.21</c:v>
                </c:pt>
                <c:pt idx="129">
                  <c:v>29.11.21</c:v>
                </c:pt>
                <c:pt idx="130">
                  <c:v>30.11.21</c:v>
                </c:pt>
                <c:pt idx="131">
                  <c:v>01.12.21</c:v>
                </c:pt>
                <c:pt idx="132">
                  <c:v>02.12.21</c:v>
                </c:pt>
                <c:pt idx="133">
                  <c:v>03.12.21</c:v>
                </c:pt>
                <c:pt idx="134">
                  <c:v>04.12.21</c:v>
                </c:pt>
                <c:pt idx="135">
                  <c:v>05.12.21</c:v>
                </c:pt>
                <c:pt idx="136">
                  <c:v>06.12.21</c:v>
                </c:pt>
                <c:pt idx="137">
                  <c:v>07.12.21</c:v>
                </c:pt>
                <c:pt idx="138">
                  <c:v>08.12.21</c:v>
                </c:pt>
                <c:pt idx="139">
                  <c:v>09.12.21</c:v>
                </c:pt>
                <c:pt idx="140">
                  <c:v>10.12.21</c:v>
                </c:pt>
                <c:pt idx="141">
                  <c:v>11.12.21</c:v>
                </c:pt>
                <c:pt idx="142">
                  <c:v>12.12.21</c:v>
                </c:pt>
                <c:pt idx="143">
                  <c:v>13.12.21</c:v>
                </c:pt>
                <c:pt idx="144">
                  <c:v>14.12.21</c:v>
                </c:pt>
                <c:pt idx="145">
                  <c:v>15.12.21</c:v>
                </c:pt>
                <c:pt idx="146">
                  <c:v>16.12.21</c:v>
                </c:pt>
                <c:pt idx="147">
                  <c:v>17.12.21</c:v>
                </c:pt>
                <c:pt idx="148">
                  <c:v>18.12.21</c:v>
                </c:pt>
                <c:pt idx="149">
                  <c:v>19.12.21</c:v>
                </c:pt>
                <c:pt idx="150">
                  <c:v>20.12.21</c:v>
                </c:pt>
                <c:pt idx="151">
                  <c:v>21.12.21</c:v>
                </c:pt>
                <c:pt idx="152">
                  <c:v>22.12.21</c:v>
                </c:pt>
                <c:pt idx="153">
                  <c:v>23.12.21</c:v>
                </c:pt>
                <c:pt idx="154">
                  <c:v>24.12.21</c:v>
                </c:pt>
                <c:pt idx="155">
                  <c:v>25.12.21</c:v>
                </c:pt>
                <c:pt idx="156">
                  <c:v>26.12.21</c:v>
                </c:pt>
                <c:pt idx="157">
                  <c:v>27.12.21</c:v>
                </c:pt>
                <c:pt idx="158">
                  <c:v>28.12.21</c:v>
                </c:pt>
                <c:pt idx="159">
                  <c:v>29.12.21</c:v>
                </c:pt>
                <c:pt idx="160">
                  <c:v>30.12.21</c:v>
                </c:pt>
                <c:pt idx="161">
                  <c:v>31.12.21</c:v>
                </c:pt>
                <c:pt idx="162">
                  <c:v>01.01.22</c:v>
                </c:pt>
                <c:pt idx="163">
                  <c:v>02.01.22</c:v>
                </c:pt>
                <c:pt idx="164">
                  <c:v>03.01.22</c:v>
                </c:pt>
                <c:pt idx="165">
                  <c:v>04.01.22</c:v>
                </c:pt>
                <c:pt idx="166">
                  <c:v>05.01.22</c:v>
                </c:pt>
                <c:pt idx="167">
                  <c:v>06.01.22</c:v>
                </c:pt>
                <c:pt idx="168">
                  <c:v>07.01.22</c:v>
                </c:pt>
                <c:pt idx="169">
                  <c:v>08.01.22</c:v>
                </c:pt>
                <c:pt idx="170">
                  <c:v>09.01.22</c:v>
                </c:pt>
                <c:pt idx="171">
                  <c:v>10.01.22</c:v>
                </c:pt>
                <c:pt idx="172">
                  <c:v>11.01.22</c:v>
                </c:pt>
                <c:pt idx="173">
                  <c:v>12.01.22</c:v>
                </c:pt>
                <c:pt idx="174">
                  <c:v>13.01.22</c:v>
                </c:pt>
                <c:pt idx="175">
                  <c:v>14.01.22</c:v>
                </c:pt>
                <c:pt idx="176">
                  <c:v>15.01.22</c:v>
                </c:pt>
                <c:pt idx="177">
                  <c:v>16.01.22</c:v>
                </c:pt>
                <c:pt idx="178">
                  <c:v>17.01.22</c:v>
                </c:pt>
                <c:pt idx="179">
                  <c:v>18.01.22</c:v>
                </c:pt>
                <c:pt idx="180">
                  <c:v>19.01.22</c:v>
                </c:pt>
                <c:pt idx="181">
                  <c:v>20.01.22</c:v>
                </c:pt>
                <c:pt idx="182">
                  <c:v>21.01.22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70</c:v>
                </c:pt>
                <c:pt idx="1">
                  <c:v>70</c:v>
                </c:pt>
                <c:pt idx="2">
                  <c:v>71</c:v>
                </c:pt>
                <c:pt idx="3">
                  <c:v>72</c:v>
                </c:pt>
                <c:pt idx="4">
                  <c:v>76</c:v>
                </c:pt>
                <c:pt idx="5">
                  <c:v>73</c:v>
                </c:pt>
                <c:pt idx="6">
                  <c:v>72</c:v>
                </c:pt>
                <c:pt idx="7">
                  <c:v>70</c:v>
                </c:pt>
                <c:pt idx="8">
                  <c:v>70</c:v>
                </c:pt>
                <c:pt idx="9">
                  <c:v>68</c:v>
                </c:pt>
                <c:pt idx="10">
                  <c:v>66</c:v>
                </c:pt>
                <c:pt idx="11">
                  <c:v>68</c:v>
                </c:pt>
                <c:pt idx="12">
                  <c:v>70</c:v>
                </c:pt>
                <c:pt idx="13">
                  <c:v>66</c:v>
                </c:pt>
                <c:pt idx="14">
                  <c:v>67</c:v>
                </c:pt>
                <c:pt idx="15">
                  <c:v>66</c:v>
                </c:pt>
                <c:pt idx="16">
                  <c:v>64</c:v>
                </c:pt>
                <c:pt idx="17">
                  <c:v>67</c:v>
                </c:pt>
                <c:pt idx="18">
                  <c:v>66</c:v>
                </c:pt>
                <c:pt idx="19">
                  <c:v>66</c:v>
                </c:pt>
                <c:pt idx="20">
                  <c:v>65</c:v>
                </c:pt>
                <c:pt idx="21">
                  <c:v>71</c:v>
                </c:pt>
                <c:pt idx="22">
                  <c:v>72</c:v>
                </c:pt>
                <c:pt idx="23">
                  <c:v>72</c:v>
                </c:pt>
                <c:pt idx="24">
                  <c:v>70</c:v>
                </c:pt>
                <c:pt idx="25">
                  <c:v>67</c:v>
                </c:pt>
                <c:pt idx="26">
                  <c:v>66</c:v>
                </c:pt>
                <c:pt idx="27">
                  <c:v>64</c:v>
                </c:pt>
                <c:pt idx="28">
                  <c:v>66</c:v>
                </c:pt>
                <c:pt idx="29">
                  <c:v>67</c:v>
                </c:pt>
                <c:pt idx="30">
                  <c:v>68</c:v>
                </c:pt>
                <c:pt idx="31">
                  <c:v>65</c:v>
                </c:pt>
                <c:pt idx="32">
                  <c:v>66</c:v>
                </c:pt>
                <c:pt idx="33">
                  <c:v>70</c:v>
                </c:pt>
                <c:pt idx="34">
                  <c:v>68</c:v>
                </c:pt>
                <c:pt idx="35">
                  <c:v>66</c:v>
                </c:pt>
                <c:pt idx="36">
                  <c:v>64</c:v>
                </c:pt>
                <c:pt idx="37">
                  <c:v>65</c:v>
                </c:pt>
                <c:pt idx="38">
                  <c:v>63</c:v>
                </c:pt>
                <c:pt idx="39">
                  <c:v>64</c:v>
                </c:pt>
                <c:pt idx="40">
                  <c:v>66</c:v>
                </c:pt>
                <c:pt idx="41">
                  <c:v>70</c:v>
                </c:pt>
                <c:pt idx="42">
                  <c:v>72</c:v>
                </c:pt>
                <c:pt idx="43">
                  <c:v>75</c:v>
                </c:pt>
                <c:pt idx="44">
                  <c:v>74</c:v>
                </c:pt>
                <c:pt idx="45">
                  <c:v>78</c:v>
                </c:pt>
                <c:pt idx="46">
                  <c:v>79</c:v>
                </c:pt>
                <c:pt idx="47">
                  <c:v>76</c:v>
                </c:pt>
                <c:pt idx="48">
                  <c:v>75</c:v>
                </c:pt>
                <c:pt idx="49">
                  <c:v>77</c:v>
                </c:pt>
                <c:pt idx="50">
                  <c:v>76</c:v>
                </c:pt>
                <c:pt idx="51">
                  <c:v>79</c:v>
                </c:pt>
                <c:pt idx="52">
                  <c:v>80</c:v>
                </c:pt>
                <c:pt idx="53">
                  <c:v>80</c:v>
                </c:pt>
                <c:pt idx="54">
                  <c:v>84</c:v>
                </c:pt>
                <c:pt idx="55">
                  <c:v>87</c:v>
                </c:pt>
                <c:pt idx="56">
                  <c:v>85</c:v>
                </c:pt>
                <c:pt idx="57">
                  <c:v>84</c:v>
                </c:pt>
                <c:pt idx="58">
                  <c:v>87</c:v>
                </c:pt>
                <c:pt idx="59">
                  <c:v>88</c:v>
                </c:pt>
                <c:pt idx="60">
                  <c:v>95</c:v>
                </c:pt>
                <c:pt idx="61">
                  <c:v>102</c:v>
                </c:pt>
                <c:pt idx="62">
                  <c:v>104</c:v>
                </c:pt>
                <c:pt idx="63">
                  <c:v>107</c:v>
                </c:pt>
                <c:pt idx="64">
                  <c:v>110</c:v>
                </c:pt>
                <c:pt idx="65">
                  <c:v>109</c:v>
                </c:pt>
                <c:pt idx="66">
                  <c:v>112</c:v>
                </c:pt>
                <c:pt idx="67">
                  <c:v>117</c:v>
                </c:pt>
                <c:pt idx="68">
                  <c:v>118</c:v>
                </c:pt>
                <c:pt idx="69">
                  <c:v>123</c:v>
                </c:pt>
                <c:pt idx="70">
                  <c:v>126</c:v>
                </c:pt>
                <c:pt idx="71">
                  <c:v>128</c:v>
                </c:pt>
                <c:pt idx="72">
                  <c:v>130</c:v>
                </c:pt>
                <c:pt idx="73">
                  <c:v>132</c:v>
                </c:pt>
                <c:pt idx="74">
                  <c:v>134</c:v>
                </c:pt>
                <c:pt idx="75">
                  <c:v>143</c:v>
                </c:pt>
                <c:pt idx="76">
                  <c:v>149</c:v>
                </c:pt>
                <c:pt idx="77">
                  <c:v>154</c:v>
                </c:pt>
                <c:pt idx="78">
                  <c:v>159</c:v>
                </c:pt>
                <c:pt idx="79">
                  <c:v>161</c:v>
                </c:pt>
                <c:pt idx="80">
                  <c:v>170</c:v>
                </c:pt>
                <c:pt idx="81">
                  <c:v>199</c:v>
                </c:pt>
                <c:pt idx="82">
                  <c:v>205</c:v>
                </c:pt>
                <c:pt idx="83">
                  <c:v>213</c:v>
                </c:pt>
                <c:pt idx="84">
                  <c:v>217</c:v>
                </c:pt>
                <c:pt idx="85">
                  <c:v>223</c:v>
                </c:pt>
                <c:pt idx="86">
                  <c:v>227</c:v>
                </c:pt>
                <c:pt idx="87">
                  <c:v>254</c:v>
                </c:pt>
                <c:pt idx="88">
                  <c:v>294</c:v>
                </c:pt>
                <c:pt idx="89">
                  <c:v>331</c:v>
                </c:pt>
                <c:pt idx="90">
                  <c:v>370</c:v>
                </c:pt>
                <c:pt idx="91">
                  <c:v>401</c:v>
                </c:pt>
                <c:pt idx="92">
                  <c:v>424</c:v>
                </c:pt>
                <c:pt idx="93">
                  <c:v>437</c:v>
                </c:pt>
                <c:pt idx="94">
                  <c:v>485</c:v>
                </c:pt>
                <c:pt idx="95">
                  <c:v>539</c:v>
                </c:pt>
                <c:pt idx="96">
                  <c:v>588</c:v>
                </c:pt>
                <c:pt idx="97">
                  <c:v>611</c:v>
                </c:pt>
                <c:pt idx="98">
                  <c:v>676</c:v>
                </c:pt>
                <c:pt idx="99">
                  <c:v>720</c:v>
                </c:pt>
                <c:pt idx="100">
                  <c:v>749</c:v>
                </c:pt>
                <c:pt idx="101">
                  <c:v>822</c:v>
                </c:pt>
                <c:pt idx="102">
                  <c:v>895</c:v>
                </c:pt>
                <c:pt idx="103">
                  <c:v>956</c:v>
                </c:pt>
                <c:pt idx="104">
                  <c:v>1010</c:v>
                </c:pt>
                <c:pt idx="105">
                  <c:v>1097</c:v>
                </c:pt>
                <c:pt idx="106">
                  <c:v>1125</c:v>
                </c:pt>
                <c:pt idx="107">
                  <c:v>1127</c:v>
                </c:pt>
                <c:pt idx="108">
                  <c:v>1160</c:v>
                </c:pt>
                <c:pt idx="109">
                  <c:v>1232</c:v>
                </c:pt>
                <c:pt idx="110">
                  <c:v>1308</c:v>
                </c:pt>
                <c:pt idx="111">
                  <c:v>1394</c:v>
                </c:pt>
                <c:pt idx="112">
                  <c:v>1456</c:v>
                </c:pt>
                <c:pt idx="113">
                  <c:v>1503</c:v>
                </c:pt>
                <c:pt idx="114">
                  <c:v>1513</c:v>
                </c:pt>
                <c:pt idx="115">
                  <c:v>1500</c:v>
                </c:pt>
                <c:pt idx="116">
                  <c:v>1572</c:v>
                </c:pt>
                <c:pt idx="117">
                  <c:v>1624</c:v>
                </c:pt>
                <c:pt idx="118">
                  <c:v>1670</c:v>
                </c:pt>
                <c:pt idx="119">
                  <c:v>1801</c:v>
                </c:pt>
                <c:pt idx="120">
                  <c:v>1881</c:v>
                </c:pt>
                <c:pt idx="121">
                  <c:v>1928</c:v>
                </c:pt>
                <c:pt idx="122">
                  <c:v>1962</c:v>
                </c:pt>
                <c:pt idx="123">
                  <c:v>2012</c:v>
                </c:pt>
                <c:pt idx="124">
                  <c:v>2054</c:v>
                </c:pt>
                <c:pt idx="125">
                  <c:v>2171</c:v>
                </c:pt>
                <c:pt idx="126">
                  <c:v>2156</c:v>
                </c:pt>
                <c:pt idx="127">
                  <c:v>2204</c:v>
                </c:pt>
                <c:pt idx="128">
                  <c:v>2226</c:v>
                </c:pt>
                <c:pt idx="129">
                  <c:v>2196</c:v>
                </c:pt>
                <c:pt idx="130">
                  <c:v>2180</c:v>
                </c:pt>
                <c:pt idx="131">
                  <c:v>2268</c:v>
                </c:pt>
                <c:pt idx="132">
                  <c:v>2170</c:v>
                </c:pt>
                <c:pt idx="133">
                  <c:v>2105</c:v>
                </c:pt>
                <c:pt idx="134">
                  <c:v>2108</c:v>
                </c:pt>
                <c:pt idx="135">
                  <c:v>2085</c:v>
                </c:pt>
                <c:pt idx="136">
                  <c:v>2003</c:v>
                </c:pt>
                <c:pt idx="137">
                  <c:v>1961</c:v>
                </c:pt>
                <c:pt idx="138">
                  <c:v>1902</c:v>
                </c:pt>
                <c:pt idx="139">
                  <c:v>1836</c:v>
                </c:pt>
                <c:pt idx="140">
                  <c:v>1769</c:v>
                </c:pt>
                <c:pt idx="141">
                  <c:v>1770</c:v>
                </c:pt>
                <c:pt idx="142">
                  <c:v>1745</c:v>
                </c:pt>
                <c:pt idx="143">
                  <c:v>1622</c:v>
                </c:pt>
                <c:pt idx="144">
                  <c:v>1613</c:v>
                </c:pt>
                <c:pt idx="145">
                  <c:v>1578</c:v>
                </c:pt>
                <c:pt idx="146">
                  <c:v>1514</c:v>
                </c:pt>
                <c:pt idx="147">
                  <c:v>1465</c:v>
                </c:pt>
                <c:pt idx="148">
                  <c:v>1462</c:v>
                </c:pt>
                <c:pt idx="149">
                  <c:v>1432</c:v>
                </c:pt>
                <c:pt idx="150">
                  <c:v>1309</c:v>
                </c:pt>
                <c:pt idx="151">
                  <c:v>1248</c:v>
                </c:pt>
                <c:pt idx="152">
                  <c:v>1178</c:v>
                </c:pt>
                <c:pt idx="153">
                  <c:v>1156</c:v>
                </c:pt>
                <c:pt idx="154">
                  <c:v>1072</c:v>
                </c:pt>
                <c:pt idx="155">
                  <c:v>1035</c:v>
                </c:pt>
                <c:pt idx="156">
                  <c:v>998</c:v>
                </c:pt>
                <c:pt idx="157">
                  <c:v>871</c:v>
                </c:pt>
                <c:pt idx="158">
                  <c:v>867</c:v>
                </c:pt>
                <c:pt idx="159">
                  <c:v>830</c:v>
                </c:pt>
                <c:pt idx="160">
                  <c:v>803</c:v>
                </c:pt>
                <c:pt idx="161">
                  <c:v>790</c:v>
                </c:pt>
                <c:pt idx="162">
                  <c:v>761</c:v>
                </c:pt>
                <c:pt idx="163">
                  <c:v>731</c:v>
                </c:pt>
                <c:pt idx="164">
                  <c:v>697</c:v>
                </c:pt>
                <c:pt idx="165">
                  <c:v>723</c:v>
                </c:pt>
                <c:pt idx="166">
                  <c:v>726</c:v>
                </c:pt>
                <c:pt idx="167">
                  <c:v>756</c:v>
                </c:pt>
                <c:pt idx="168">
                  <c:v>808</c:v>
                </c:pt>
                <c:pt idx="169">
                  <c:v>820</c:v>
                </c:pt>
                <c:pt idx="170">
                  <c:v>815</c:v>
                </c:pt>
                <c:pt idx="171">
                  <c:v>801</c:v>
                </c:pt>
                <c:pt idx="172">
                  <c:v>825</c:v>
                </c:pt>
                <c:pt idx="173">
                  <c:v>856</c:v>
                </c:pt>
                <c:pt idx="174">
                  <c:v>865</c:v>
                </c:pt>
                <c:pt idx="175">
                  <c:v>907</c:v>
                </c:pt>
                <c:pt idx="176">
                  <c:v>949</c:v>
                </c:pt>
                <c:pt idx="177">
                  <c:v>966</c:v>
                </c:pt>
                <c:pt idx="178">
                  <c:v>1030</c:v>
                </c:pt>
                <c:pt idx="179">
                  <c:v>1218</c:v>
                </c:pt>
                <c:pt idx="180">
                  <c:v>1429</c:v>
                </c:pt>
                <c:pt idx="181">
                  <c:v>1642</c:v>
                </c:pt>
                <c:pt idx="182">
                  <c:v>17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7CD-4BA3-857E-B86804E5EE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3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5348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1506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8455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4891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533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36807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57205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389165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3032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844982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09397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01783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409036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41529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84567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884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9344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66172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51231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82131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1496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3195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svg"/><Relationship Id="rId5" Type="http://schemas.openxmlformats.org/officeDocument/2006/relationships/image" Target="../media/image13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3.01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98858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3.01.2022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79045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3.01.2022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46708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3.01.2022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249992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3.01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05233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3.01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7909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3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6871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3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26330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921412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0347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7777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15433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1028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6814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0820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92066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15318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24934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00271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544834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4070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95612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481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82046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9823708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1014941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8853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31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20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3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13921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3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2318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3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7545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3" r:id="rId3"/>
    <p:sldLayoutId id="2147483661" r:id="rId4"/>
    <p:sldLayoutId id="2147483665" r:id="rId5"/>
    <p:sldLayoutId id="214748367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23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9173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20971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52161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chart" Target="../charts/chart10.xml"/><Relationship Id="rId4" Type="http://schemas.openxmlformats.org/officeDocument/2006/relationships/tags" Target="../tags/tag5.xml"/><Relationship Id="rId9" Type="http://schemas.openxmlformats.org/officeDocument/2006/relationships/notesSlide" Target="../notesSlides/notesSlide2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chart" Target="../charts/chart1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chart" Target="../charts/chart12.xml"/><Relationship Id="rId4" Type="http://schemas.openxmlformats.org/officeDocument/2006/relationships/tags" Target="../tags/tag14.xml"/><Relationship Id="rId9" Type="http://schemas.openxmlformats.org/officeDocument/2006/relationships/notesSlide" Target="../notesSlides/notesSlide2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chart" Target="../charts/chart1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chart" Target="../charts/chart14.xml"/><Relationship Id="rId4" Type="http://schemas.openxmlformats.org/officeDocument/2006/relationships/tags" Target="../tags/tag23.xml"/><Relationship Id="rId9" Type="http://schemas.openxmlformats.org/officeDocument/2006/relationships/notesSlide" Target="../notesSlides/notesSlide2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chart" Target="../charts/char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10" Type="http://schemas.openxmlformats.org/officeDocument/2006/relationships/chart" Target="../charts/chart16.xml"/><Relationship Id="rId4" Type="http://schemas.openxmlformats.org/officeDocument/2006/relationships/tags" Target="../tags/tag32.xml"/><Relationship Id="rId9" Type="http://schemas.openxmlformats.org/officeDocument/2006/relationships/notesSlide" Target="../notesSlides/notesSlide2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chart" Target="../charts/chart17.xml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3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4" Type="http://schemas.openxmlformats.org/officeDocument/2006/relationships/chart" Target="../charts/char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6"/>
            <a:ext cx="12192000" cy="204787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: souhrnný přehled stavu očkování a zátěže COVID-19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k 21.1. 2022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1904359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69149" y="1996486"/>
            <a:ext cx="1185370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soká úroveň proočkovanosti je patrná u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akutní lůžkové péči a v záchranné zdravotnické službě: lékaři 88 % a sestry 84 %. Přesto </a:t>
            </a:r>
            <a:r>
              <a:rPr lang="cs-CZ" sz="3200" b="1" dirty="0">
                <a:latin typeface="Arial" panose="020B0604020202020204"/>
              </a:rPr>
              <a:t>i v této kategorii existuje prostor k posílení očkování, zejména v některých moravských region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390575" y="4652888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9095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zdravotníci v nemocnicích akutní lůžkové péče a ZZS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5B21923-74CC-4971-8ACF-75603B949F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57880749"/>
              </p:ext>
            </p:extLst>
          </p:nvPr>
        </p:nvGraphicFramePr>
        <p:xfrm>
          <a:off x="10136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7">
            <a:extLst>
              <a:ext uri="{FF2B5EF4-FFF2-40B4-BE49-F238E27FC236}">
                <a16:creationId xmlns:a16="http://schemas.microsoft.com/office/drawing/2014/main" id="{859ED9E0-6A53-405A-BD02-85A115DFB578}"/>
              </a:ext>
            </a:extLst>
          </p:cNvPr>
          <p:cNvSpPr txBox="1"/>
          <p:nvPr/>
        </p:nvSpPr>
        <p:spPr>
          <a:xfrm>
            <a:off x="1653004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DE006A4-47CC-483A-94C2-37A91796F0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8788045"/>
              </p:ext>
            </p:extLst>
          </p:nvPr>
        </p:nvGraphicFramePr>
        <p:xfrm>
          <a:off x="5070251" y="1245141"/>
          <a:ext cx="1013589" cy="5010075"/>
        </p:xfrm>
        <a:graphic>
          <a:graphicData uri="http://schemas.openxmlformats.org/drawingml/2006/table">
            <a:tbl>
              <a:tblPr/>
              <a:tblGrid>
                <a:gridCol w="1013589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1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354140"/>
            <a:ext cx="81051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1F59839-6B54-4C6A-814C-0F7D2FA4596F}"/>
              </a:ext>
            </a:extLst>
          </p:cNvPr>
          <p:cNvSpPr txBox="1"/>
          <p:nvPr/>
        </p:nvSpPr>
        <p:spPr>
          <a:xfrm>
            <a:off x="267310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Lékaři </a:t>
            </a:r>
            <a:r>
              <a:rPr lang="cs-CZ" sz="1400" dirty="0"/>
              <a:t>(včetně zubních lékařů)</a:t>
            </a:r>
            <a:endParaRPr lang="cs-CZ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4728811-3D14-4440-A95A-65B5E4851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0014322"/>
              </p:ext>
            </p:extLst>
          </p:nvPr>
        </p:nvGraphicFramePr>
        <p:xfrm>
          <a:off x="6185074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68CBEAFC-AB11-4E0B-8467-5B7AAE3834DA}"/>
              </a:ext>
            </a:extLst>
          </p:cNvPr>
          <p:cNvSpPr txBox="1"/>
          <p:nvPr/>
        </p:nvSpPr>
        <p:spPr>
          <a:xfrm>
            <a:off x="7827942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8E50632-3864-418D-91C6-3A9FEBF81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538476"/>
              </p:ext>
            </p:extLst>
          </p:nvPr>
        </p:nvGraphicFramePr>
        <p:xfrm>
          <a:off x="11181969" y="1244893"/>
          <a:ext cx="950976" cy="5010075"/>
        </p:xfrm>
        <a:graphic>
          <a:graphicData uri="http://schemas.openxmlformats.org/drawingml/2006/table">
            <a:tbl>
              <a:tblPr/>
              <a:tblGrid>
                <a:gridCol w="950976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3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0A250D1E-21AE-452B-8E14-DA72C406298D}"/>
              </a:ext>
            </a:extLst>
          </p:cNvPr>
          <p:cNvSpPr txBox="1"/>
          <p:nvPr/>
        </p:nvSpPr>
        <p:spPr>
          <a:xfrm>
            <a:off x="6442248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Sestry*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FD5F7F0-9879-44F5-8A51-0926E63C659F}"/>
              </a:ext>
            </a:extLst>
          </p:cNvPr>
          <p:cNvSpPr/>
          <p:nvPr/>
        </p:nvSpPr>
        <p:spPr>
          <a:xfrm>
            <a:off x="8410574" y="6354140"/>
            <a:ext cx="34290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/>
              <a:t>*Sestry</a:t>
            </a:r>
            <a:r>
              <a:rPr lang="cs-CZ" sz="1100" dirty="0"/>
              <a:t> - § 5 Všeobecná sestra, § 5a Dětská sestra, § 6 Porodní asistentka, § 21b Praktická sestra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5427835" y="596549"/>
            <a:ext cx="2009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/>
              <a:t>Stav k 21. 1. 2022 </a:t>
            </a:r>
          </a:p>
        </p:txBody>
      </p:sp>
    </p:spTree>
    <p:extLst>
      <p:ext uri="{BB962C8B-B14F-4D97-AF65-F5344CB8AC3E}">
        <p14:creationId xmlns:p14="http://schemas.microsoft.com/office/powerpoint/2010/main" val="29716961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52450" y="833301"/>
            <a:ext cx="110394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skupinami zdravotnických pracovníků je nejnižší proočkovanost u nelékařských zdravotnických pracovníků, která dosahuje 81 %.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73256" y="3241554"/>
            <a:ext cx="1185370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př. profese sanitáře a fyzioterapeuta patřila mezi nejčastěji nakažené, jak dokládají reprezentativní data. Přitom jde o pracovníky s velkým počtem kontaktů ve zdravotnických zařízeních. Posílení očkování i u těchto zdravotnických profesí je potřebné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289224" y="602469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89224" y="256834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300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/2021 – 01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0553929A-22E7-4A3C-B2A6-F2301789E83D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1. 1. 2022</a:t>
            </a:r>
          </a:p>
        </p:txBody>
      </p:sp>
    </p:spTree>
    <p:extLst>
      <p:ext uri="{BB962C8B-B14F-4D97-AF65-F5344CB8AC3E}">
        <p14:creationId xmlns:p14="http://schemas.microsoft.com/office/powerpoint/2010/main" val="34479671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10/2021 – 01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1. 1. 2022</a:t>
            </a:r>
          </a:p>
        </p:txBody>
      </p:sp>
    </p:spTree>
    <p:extLst>
      <p:ext uri="{BB962C8B-B14F-4D97-AF65-F5344CB8AC3E}">
        <p14:creationId xmlns:p14="http://schemas.microsoft.com/office/powerpoint/2010/main" val="35419670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1. 1. 2022</a:t>
            </a:r>
          </a:p>
        </p:txBody>
      </p:sp>
    </p:spTree>
    <p:extLst>
      <p:ext uri="{BB962C8B-B14F-4D97-AF65-F5344CB8AC3E}">
        <p14:creationId xmlns:p14="http://schemas.microsoft.com/office/powerpoint/2010/main" val="31302752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1. 1. 2022 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347381"/>
              </p:ext>
            </p:extLst>
          </p:nvPr>
        </p:nvGraphicFramePr>
        <p:xfrm>
          <a:off x="356585" y="1390933"/>
          <a:ext cx="11273440" cy="4273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7965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68436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sz="1600" dirty="0"/>
                        <a:t>evidovaní v NZIS**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čet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díl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5223301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55133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754198"/>
                  </a:ext>
                </a:extLst>
              </a:tr>
              <a:tr h="5221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30714590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2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</a:tbl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6BEBD7D0-42BD-498C-808F-66E0FCBEB10D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4358378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379022F3-AFCC-46A2-887F-6D6D3608AD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2673918"/>
              </p:ext>
            </p:extLst>
          </p:nvPr>
        </p:nvGraphicFramePr>
        <p:xfrm>
          <a:off x="1943099" y="1600994"/>
          <a:ext cx="9946013" cy="4555950"/>
        </p:xfrm>
        <a:graphic>
          <a:graphicData uri="http://schemas.openxmlformats.org/drawingml/2006/table">
            <a:tbl>
              <a:tblPr/>
              <a:tblGrid>
                <a:gridCol w="1420859">
                  <a:extLst>
                    <a:ext uri="{9D8B030D-6E8A-4147-A177-3AD203B41FA5}">
                      <a16:colId xmlns:a16="http://schemas.microsoft.com/office/drawing/2014/main" val="1492104503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134814928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789351135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479205330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614500617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42183070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4208381542"/>
                    </a:ext>
                  </a:extLst>
                </a:gridCol>
              </a:tblGrid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5707132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5C8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3C8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3929200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2467402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4828881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8840375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8155760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6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3075573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DCF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6370332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2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1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4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6743207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1C7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0231273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0098018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5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7285326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DF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0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4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F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A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3383483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8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26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5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2597700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866190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NLZP v nemocnicích akutní lůžkové péče a ZZS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401765"/>
            <a:ext cx="117532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pPr algn="ctr"/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297312" y="614100"/>
            <a:ext cx="19696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1. 1. 2022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02BA253-3FCF-4619-85EA-CE8807BFEB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0362741"/>
              </p:ext>
            </p:extLst>
          </p:nvPr>
        </p:nvGraphicFramePr>
        <p:xfrm>
          <a:off x="302889" y="921878"/>
          <a:ext cx="11586222" cy="5235072"/>
        </p:xfrm>
        <a:graphic>
          <a:graphicData uri="http://schemas.openxmlformats.org/drawingml/2006/table">
            <a:tbl>
              <a:tblPr/>
              <a:tblGrid>
                <a:gridCol w="1640944">
                  <a:extLst>
                    <a:ext uri="{9D8B030D-6E8A-4147-A177-3AD203B41FA5}">
                      <a16:colId xmlns:a16="http://schemas.microsoft.com/office/drawing/2014/main" val="974880782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441195149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3499224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0480325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85756655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038756237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34387120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3794948740"/>
                    </a:ext>
                  </a:extLst>
                </a:gridCol>
              </a:tblGrid>
              <a:tr h="65785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rmaceuti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armaceut, § 19 Farmaceutický asistent)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42 Sanit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24 Fyzioterapeut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ní pracovníci *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NLZP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5326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7 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82 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8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 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1 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5 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52797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 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68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 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 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9 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0 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6160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1 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 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 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404468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1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 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 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881402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5 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078210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7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 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802116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2 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7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 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42844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1 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 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 (7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0 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30945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4 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 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 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198027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1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3674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 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00 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 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3 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 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39702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3 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 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 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 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93671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 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6 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 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 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 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90746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 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7 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4 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 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 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7 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0 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0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53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83 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335 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61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2 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207 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23 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49192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EE8DF9DD-84CF-4A37-A410-0264FC601949}"/>
              </a:ext>
            </a:extLst>
          </p:cNvPr>
          <p:cNvSpPr/>
          <p:nvPr/>
        </p:nvSpPr>
        <p:spPr>
          <a:xfrm>
            <a:off x="1476376" y="6151138"/>
            <a:ext cx="1054448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§ 8 Radiologický asistent, § 9 Zdravotní laborant, § 26 Odborný pracovník v laboratorních metodách a v přípravě léčivých přípravků, § 30 Laboratorní asistent, § 41 Autoptický laborant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34148535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10897A15-D811-4813-A73C-E405A1AD8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9618065"/>
              </p:ext>
            </p:extLst>
          </p:nvPr>
        </p:nvGraphicFramePr>
        <p:xfrm>
          <a:off x="2419350" y="1343819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262676373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72051793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59766470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1739897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9628131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39793444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9918797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17155947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4193775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46896233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4048262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10092240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5044387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32630429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8900570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516846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191781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44797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3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425348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E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549437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4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7C4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54050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93694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0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C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430118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238899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49637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6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F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886655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58736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2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3483376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lékaři* podle typu zdravotnického zařízení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1. 1. 2022 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7837964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64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5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7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5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11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2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5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Lékaři včetně zubních lékařů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 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2148492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DA3DDFB7-78C4-48FD-B6A0-EF3303E79C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56041"/>
              </p:ext>
            </p:extLst>
          </p:nvPr>
        </p:nvGraphicFramePr>
        <p:xfrm>
          <a:off x="2419350" y="1343819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295714759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59541461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60461227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93185056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26414231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7837050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84484552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17454054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1176595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69248746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6948821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30234813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68457520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39088790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771001048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176531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00859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132502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690491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0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292058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387444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373730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65507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11652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547095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D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327958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B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24269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B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7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28869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é sestry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§ 5 Všeobecná sestra, § 5a Dětská sestra, § 6 Porodní asistentka, § 21b Praktická sestra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7D8455FB-AA19-461A-A8C9-7539A364F2DC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1. 1. 2022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AF1561B3-7273-473B-A2DD-A77D8870E0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6264983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3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1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75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4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7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3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1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0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8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99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7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7092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4400" dirty="0">
                <a:solidFill>
                  <a:srgbClr val="000000"/>
                </a:solidFill>
              </a:rPr>
              <a:t>Přehled stavu očkování ZP </a:t>
            </a: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428029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F540A43-EEAA-480A-A7C0-EB54CF0C8A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9117413"/>
              </p:ext>
            </p:extLst>
          </p:nvPr>
        </p:nvGraphicFramePr>
        <p:xfrm>
          <a:off x="2419350" y="1343819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405261281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01264291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46330412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79387262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70432337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2063913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34669664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70599967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64430555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69870014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22046853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62609088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2328978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81848505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478631454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432422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7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3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325202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61693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2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5527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063984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052760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798736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1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652078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748267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9397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941380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31754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596044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ostatní ZP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NLZP § 7 až § 42 kromě § 21b, farmaceuti; jedna osoba může pracovat ve více krajích a ve více typech zdravotnických zařízení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8BE7577-D0D0-4CAF-8960-5C7A9603C643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1. 1. 2022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50FC5E21-D439-468C-9A0B-56B392BA28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6324068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9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38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2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6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9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7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88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3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89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45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52786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učasné nákazy a virová zátěž ZP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24292118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21. 1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7 (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6 (6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6 (4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13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5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4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4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0 (2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3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3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1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3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9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7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6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5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3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3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82 (9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62 (24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59 (20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3 (54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06765" y="1359445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789707" y="1190171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7 denní klouzavý průměr</a:t>
            </a:r>
          </a:p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06765" y="1654720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492063" y="1726271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36752246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4E2462CD-2C28-4222-9D6A-55BCDDF9CD02}"/>
              </a:ext>
            </a:extLst>
          </p:cNvPr>
          <p:cNvGraphicFramePr/>
          <p:nvPr/>
        </p:nvGraphicFramePr>
        <p:xfrm>
          <a:off x="142875" y="1083825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*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21. 1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723900" y="6567385"/>
            <a:ext cx="49339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56231"/>
          <a:ext cx="4752977" cy="4745385"/>
        </p:xfrm>
        <a:graphic>
          <a:graphicData uri="http://schemas.openxmlformats.org/drawingml/2006/table">
            <a:tbl>
              <a:tblPr/>
              <a:tblGrid>
                <a:gridCol w="1456505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1451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6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7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107070DB-7A5B-419B-A663-E01DC064A02B}"/>
              </a:ext>
            </a:extLst>
          </p:cNvPr>
          <p:cNvSpPr txBox="1"/>
          <p:nvPr/>
        </p:nvSpPr>
        <p:spPr>
          <a:xfrm>
            <a:off x="6095202" y="6093400"/>
            <a:ext cx="609679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Počty aktuálně pozitivních ZP jsou nadhodnocené z důvodu zpoždění v aktualizaci údajů o negativitě/ vyléčení, které u ZP provádí KHS. Odhadovaný počet pravděpodobně již negativních ZP je 394 celkem (66 lékařů, 142 sester, 186 jiných ZP), odhad vychází z počtu aktuálně pozitivních ZP s datem pozitivity starším než 14 dní.</a:t>
            </a:r>
          </a:p>
        </p:txBody>
      </p:sp>
    </p:spTree>
    <p:extLst>
      <p:ext uri="{BB962C8B-B14F-4D97-AF65-F5344CB8AC3E}">
        <p14:creationId xmlns:p14="http://schemas.microsoft.com/office/powerpoint/2010/main" val="22387840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lékařů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A29735D-E67B-4582-988F-B716296F695C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2783236E-7848-4370-8C68-345D039C0ED3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12.–24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12.–31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1.–7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1.–14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1.–21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4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3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76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34.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E9A2D16A-0F9E-48DA-B81B-A499BA1E8464}"/>
              </a:ext>
            </a:extLst>
          </p:cNvPr>
          <p:cNvCxnSpPr>
            <a:cxnSpLocks/>
          </p:cNvCxnSpPr>
          <p:nvPr/>
        </p:nvCxnSpPr>
        <p:spPr>
          <a:xfrm flipV="1">
            <a:off x="10980525" y="3147696"/>
            <a:ext cx="592350" cy="18297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70796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438411" cy="576000"/>
          </a:xfrm>
        </p:spPr>
        <p:txBody>
          <a:bodyPr/>
          <a:lstStyle/>
          <a:p>
            <a:r>
              <a:rPr lang="cs-CZ" dirty="0"/>
              <a:t>Počty COVID-19 pozitivních na 100 000 osob v populaci lékařů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757297"/>
            <a:ext cx="143810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lékařů (suma za hodnocený časový úsek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6A1A17EB-9ECA-4C24-8912-EF92363C1CE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52573484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sester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otovo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12.–24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12.–31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1.–7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1.–14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1.–21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.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1.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41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72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454EFF59-89E0-4E70-A539-68DF2F5CC7C3}"/>
              </a:ext>
            </a:extLst>
          </p:cNvPr>
          <p:cNvCxnSpPr>
            <a:cxnSpLocks/>
          </p:cNvCxnSpPr>
          <p:nvPr/>
        </p:nvCxnSpPr>
        <p:spPr>
          <a:xfrm flipV="1">
            <a:off x="11102166" y="3223896"/>
            <a:ext cx="592350" cy="18297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379428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02694" cy="576000"/>
          </a:xfrm>
        </p:spPr>
        <p:txBody>
          <a:bodyPr/>
          <a:lstStyle/>
          <a:p>
            <a:r>
              <a:rPr lang="cs-CZ" dirty="0"/>
              <a:t>Počty COVID-19 pozitivních na 100 000 osob v populaci seste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49877" y="1757297"/>
            <a:ext cx="139250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sester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AB75CD35-D60A-4842-A868-455961D2CCC6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24455693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ostatních ZP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12.–24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12.–31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1.–7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1.–14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1.–21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7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5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2.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51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D91E9B72-AC19-4865-A272-E35101FF604C}"/>
              </a:ext>
            </a:extLst>
          </p:cNvPr>
          <p:cNvCxnSpPr>
            <a:cxnSpLocks/>
          </p:cNvCxnSpPr>
          <p:nvPr/>
        </p:nvCxnSpPr>
        <p:spPr>
          <a:xfrm flipV="1">
            <a:off x="11102166" y="3147696"/>
            <a:ext cx="592350" cy="18297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26087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647961" cy="576000"/>
          </a:xfrm>
        </p:spPr>
        <p:txBody>
          <a:bodyPr/>
          <a:lstStyle/>
          <a:p>
            <a:r>
              <a:rPr lang="cs-CZ" dirty="0"/>
              <a:t>Počty COVID-19 pozitivních na 100 000 osob v populaci ostatních ZP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ostatních ZP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48FC8E2C-EA85-4B60-9865-EAD22E25BEC9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0003859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95147" y="695624"/>
            <a:ext cx="1160170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aktuálně aktivně působících zdravotnických pracovníků má alespoň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dávku vakcinace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8 % lékařů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4 % sesterských povolání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1 % ostatních zdravotnických povolání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513717" y="235506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57785" y="3112624"/>
            <a:ext cx="1176796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očkovanost ZP během podzimu 2021 vzrostla, a to ve všech profesních skupinách. Celková proočkovanost ZP dosahuje 83,7 % (jen ZP skutečně aktivní ve zdravotnictví). Roste i proočkovanost posilující dávkou. Z pracovníků, kteří na ni mají (časově) nárok, ji dosud absolvovalo 86,0 % lékařů, 75,6 % sester a 71,5 % ostatních NLZP (celkem 76,5 % všech aktivních ZP s nárokem na booster)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513717" y="622116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3333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ZP CELKEM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3E2D82D-108B-4D73-94F6-FBD731C2D303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F11535AB-AF88-4B35-89FD-7232D9821B31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12.–24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12.–31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1.–7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1.–14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1.–21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4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37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57.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BA91D446-0B0E-4B19-A9FE-A322FF6536C0}"/>
              </a:ext>
            </a:extLst>
          </p:cNvPr>
          <p:cNvCxnSpPr>
            <a:cxnSpLocks/>
          </p:cNvCxnSpPr>
          <p:nvPr/>
        </p:nvCxnSpPr>
        <p:spPr>
          <a:xfrm flipV="1">
            <a:off x="11102166" y="3147696"/>
            <a:ext cx="592350" cy="18297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903475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B6ED0AD4-978F-4569-94A0-40BCA9EFDD64}"/>
              </a:ext>
            </a:extLst>
          </p:cNvPr>
          <p:cNvGraphicFramePr>
            <a:graphicFrameLocks noGrp="1"/>
          </p:cNvGraphicFramePr>
          <p:nvPr/>
        </p:nvGraphicFramePr>
        <p:xfrm>
          <a:off x="2333625" y="2260664"/>
          <a:ext cx="9284988" cy="3621345"/>
        </p:xfrm>
        <a:graphic>
          <a:graphicData uri="http://schemas.openxmlformats.org/drawingml/2006/table">
            <a:tbl>
              <a:tblPr/>
              <a:tblGrid>
                <a:gridCol w="773749">
                  <a:extLst>
                    <a:ext uri="{9D8B030D-6E8A-4147-A177-3AD203B41FA5}">
                      <a16:colId xmlns:a16="http://schemas.microsoft.com/office/drawing/2014/main" val="2124289913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1625405053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2957435329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3347762786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2654433237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2178869491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4105559360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2016751656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3597278251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2098049355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816001520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390490947"/>
                    </a:ext>
                  </a:extLst>
                </a:gridCol>
              </a:tblGrid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1820894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8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6915127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D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272484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8B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8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7528472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7675575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3124075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6A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A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9A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1302025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3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8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7680991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3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8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7926214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1492000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6487358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7127816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8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3062158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4858978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FC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7496984"/>
                  </a:ext>
                </a:extLst>
              </a:tr>
            </a:tbl>
          </a:graphicData>
        </a:graphic>
      </p:graphicFrame>
      <p:sp>
        <p:nvSpPr>
          <p:cNvPr id="10" name="TextovéPole 5">
            <a:extLst>
              <a:ext uri="{FF2B5EF4-FFF2-40B4-BE49-F238E27FC236}">
                <a16:creationId xmlns:a16="http://schemas.microsoft.com/office/drawing/2014/main" id="{E3A22678-EE0A-4F0C-80A0-91CC52509AD0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E238D39-7489-4465-AC4A-2E3C5F72A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45" y="2"/>
            <a:ext cx="7502895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1D66D047-1A81-43A9-AEC0-D36353A2C52D}"/>
              </a:ext>
            </a:extLst>
          </p:cNvPr>
          <p:cNvSpPr/>
          <p:nvPr/>
        </p:nvSpPr>
        <p:spPr>
          <a:xfrm>
            <a:off x="607274" y="64668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21. 1. 2022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5E2859C-4D5B-4818-B563-9E4138B938E9}"/>
              </a:ext>
            </a:extLst>
          </p:cNvPr>
          <p:cNvGraphicFramePr>
            <a:graphicFrameLocks noGrp="1"/>
          </p:cNvGraphicFramePr>
          <p:nvPr/>
        </p:nvGraphicFramePr>
        <p:xfrm>
          <a:off x="672701" y="1101986"/>
          <a:ext cx="10945906" cy="4780030"/>
        </p:xfrm>
        <a:graphic>
          <a:graphicData uri="http://schemas.openxmlformats.org/drawingml/2006/table">
            <a:tbl>
              <a:tblPr/>
              <a:tblGrid>
                <a:gridCol w="167042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533895005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1606111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422552456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401237711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36622183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915136564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5601179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711815336"/>
                    </a:ext>
                  </a:extLst>
                </a:gridCol>
              </a:tblGrid>
              <a:tr h="55323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6147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881938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C60E1484-55C4-4B6F-A638-3236D2A6D736}"/>
              </a:ext>
            </a:extLst>
          </p:cNvPr>
          <p:cNvSpPr txBox="1"/>
          <p:nvPr/>
        </p:nvSpPr>
        <p:spPr>
          <a:xfrm>
            <a:off x="2209088" y="5966151"/>
            <a:ext cx="97513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 Úvazky včetně smluvních pracovníků za rok 2019 podle statistických zjišťování MZ za rok 2019, v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ýkaz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y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 (MZ) 2-01, E (MZ) 3-01 a E (MZ) 4-01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D38389EE-F8C1-4AAD-BB2B-BF9F71F72F8C}"/>
              </a:ext>
            </a:extLst>
          </p:cNvPr>
          <p:cNvSpPr txBox="1"/>
          <p:nvPr/>
        </p:nvSpPr>
        <p:spPr>
          <a:xfrm>
            <a:off x="4911603" y="6276375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revná škála vizualizuje rozsah hodnot v územích v rámci sledovaného ukazatele (sloupce)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1834C1AC-8D63-45D3-ADC1-6A054BF785C6}"/>
              </a:ext>
            </a:extLst>
          </p:cNvPr>
          <p:cNvGrpSpPr/>
          <p:nvPr/>
        </p:nvGrpSpPr>
        <p:grpSpPr>
          <a:xfrm>
            <a:off x="2768481" y="6338662"/>
            <a:ext cx="2143122" cy="171474"/>
            <a:chOff x="2185672" y="6586960"/>
            <a:chExt cx="2143122" cy="171474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9B93F5A1-61AB-4ADF-8174-6F49ABD78FD6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in %                                    max %</a:t>
              </a:r>
            </a:p>
          </p:txBody>
        </p:sp>
        <p:pic>
          <p:nvPicPr>
            <p:cNvPr id="24" name="Obrázek 23">
              <a:extLst>
                <a:ext uri="{FF2B5EF4-FFF2-40B4-BE49-F238E27FC236}">
                  <a16:creationId xmlns:a16="http://schemas.microsoft.com/office/drawing/2014/main" id="{A9AA69C9-AA2B-4055-9A8C-660DAE0AD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7557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6B8BB9B-5BC7-487F-A9E6-93CBCB44A554}"/>
              </a:ext>
            </a:extLst>
          </p:cNvPr>
          <p:cNvGraphicFramePr>
            <a:graphicFrameLocks noGrp="1"/>
          </p:cNvGraphicFramePr>
          <p:nvPr/>
        </p:nvGraphicFramePr>
        <p:xfrm>
          <a:off x="3787238" y="1999780"/>
          <a:ext cx="7347932" cy="3993135"/>
        </p:xfrm>
        <a:graphic>
          <a:graphicData uri="http://schemas.openxmlformats.org/drawingml/2006/table">
            <a:tbl>
              <a:tblPr/>
              <a:tblGrid>
                <a:gridCol w="1836983">
                  <a:extLst>
                    <a:ext uri="{9D8B030D-6E8A-4147-A177-3AD203B41FA5}">
                      <a16:colId xmlns:a16="http://schemas.microsoft.com/office/drawing/2014/main" val="2756020933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1736745736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3299441642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3010236825"/>
                    </a:ext>
                  </a:extLst>
                </a:gridCol>
              </a:tblGrid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1611275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8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9165506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3227482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7885175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6564561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0495846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4876134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2189789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467694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6273986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6345712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4530662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5113606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673177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7307699"/>
                  </a:ext>
                </a:extLst>
              </a:tr>
            </a:tbl>
          </a:graphicData>
        </a:graphic>
      </p:graphicFrame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(ZP)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1093858" y="1238720"/>
          <a:ext cx="10041310" cy="4754200"/>
        </p:xfrm>
        <a:graphic>
          <a:graphicData uri="http://schemas.openxmlformats.org/drawingml/2006/table">
            <a:tbl>
              <a:tblPr/>
              <a:tblGrid>
                <a:gridCol w="269440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76394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očet celkem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(*z toho v nemocnicích akutní lůžkové péče / ambulance PL, PLDD, PL gynekolog / ambulance zubního lékaře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 (121 / 15 / 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 (206 / 16 / 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 (152 / 3 / 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4 (479 / 34 / 6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6 / 5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58 / 13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 (30 / -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 (114 / 18 / 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7 / 5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45 / 3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18 / 2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70 / 10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5 / 2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36 / 5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22 / -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(83 / 7 / 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5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7 / 3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9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21 / 5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9 / 4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50 / 6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(22 / -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 (81 / 10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9 / 2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31 / 6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30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 (80 / 8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9 / 12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39 / 4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22 / -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 (80 / 16 / 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6 / 3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41 / 4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15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(62 / 7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0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25 / 2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6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(51 / 6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38 / 9 / 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 (88 / 3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51 / -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7 (177 / 12 / 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21 / 8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36 / 4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29 / -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86 / 12 / 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12 / 4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34 / 3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20 / -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66 / 7 / 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7 / 6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42 / 5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(34 / -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 (103 / 11 / 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 (345 / 78 / 6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6 (738 / 77 / 3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2 (470 / 8 / 7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1 (1553 / 163 / 18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6" name="Obdélník 4">
            <a:extLst>
              <a:ext uri="{FF2B5EF4-FFF2-40B4-BE49-F238E27FC236}">
                <a16:creationId xmlns:a16="http://schemas.microsoft.com/office/drawing/2014/main" id="{CF4F4DD4-5D05-4AA4-B6B7-30E2E7BF4344}"/>
              </a:ext>
            </a:extLst>
          </p:cNvPr>
          <p:cNvSpPr/>
          <p:nvPr/>
        </p:nvSpPr>
        <p:spPr>
          <a:xfrm>
            <a:off x="609693" y="72472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za 7denní období 15. 1. – 21. 1. 2022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DA84AC6-10F0-4D41-9F1A-6572994DE132}"/>
              </a:ext>
            </a:extLst>
          </p:cNvPr>
          <p:cNvSpPr txBox="1"/>
          <p:nvPr/>
        </p:nvSpPr>
        <p:spPr>
          <a:xfrm>
            <a:off x="3707125" y="6081831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revné škály vizualizují rozsah hodnot v územích v rámci sledovaného ukazatele (sloupce)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648325E5-F71A-402A-B781-52C4AA1B55C4}"/>
              </a:ext>
            </a:extLst>
          </p:cNvPr>
          <p:cNvSpPr txBox="1"/>
          <p:nvPr/>
        </p:nvSpPr>
        <p:spPr>
          <a:xfrm>
            <a:off x="1495631" y="6316806"/>
            <a:ext cx="9383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dravotničtí pracovníci mohou být zaměstnáni ve více typech zdravotnických zařízení a jsou pak započítáni do každé příslušné skupiny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747C38F7-A7F7-4B0C-9D0A-01511E1A6161}"/>
              </a:ext>
            </a:extLst>
          </p:cNvPr>
          <p:cNvGrpSpPr/>
          <p:nvPr/>
        </p:nvGrpSpPr>
        <p:grpSpPr>
          <a:xfrm>
            <a:off x="1592578" y="6134593"/>
            <a:ext cx="2143122" cy="171474"/>
            <a:chOff x="2185672" y="6586960"/>
            <a:chExt cx="2143122" cy="171474"/>
          </a:xfrm>
        </p:grpSpPr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159EDEC4-9347-43EC-A452-533F0BDD4739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in %                                    max %</a:t>
              </a:r>
            </a:p>
          </p:txBody>
        </p:sp>
        <p:pic>
          <p:nvPicPr>
            <p:cNvPr id="19" name="Obrázek 18">
              <a:extLst>
                <a:ext uri="{FF2B5EF4-FFF2-40B4-BE49-F238E27FC236}">
                  <a16:creationId xmlns:a16="http://schemas.microsoft.com/office/drawing/2014/main" id="{67B50C2A-82CD-4E17-A551-73873790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100071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6"/>
            <a:ext cx="12192000" cy="1890853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zdravotnických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 ochranný efekt očkování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23631487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1462559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ZP celkem 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888805" y="1376200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P celkem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C0D3B3-E868-48ED-8B20-E96346203717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" name="Tabulka 6">
            <a:extLst>
              <a:ext uri="{FF2B5EF4-FFF2-40B4-BE49-F238E27FC236}">
                <a16:creationId xmlns:a16="http://schemas.microsoft.com/office/drawing/2014/main" id="{75D422DF-F902-4FEB-95E0-74A260757A7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9954448" y="579624"/>
          <a:ext cx="2237552" cy="2103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37552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31376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Bez očkování nebo </a:t>
                      </a:r>
                    </a:p>
                    <a:p>
                      <a:r>
                        <a:rPr lang="cs-CZ" sz="1600" dirty="0"/>
                        <a:t>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bez posilující dávk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s posilující dávko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2753142"/>
                  </a:ext>
                </a:extLst>
              </a:tr>
            </a:tbl>
          </a:graphicData>
        </a:graphic>
      </p:graphicFrame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7CE6062-A746-4B16-BD2A-949B93077515}"/>
              </a:ext>
            </a:extLst>
          </p:cNvPr>
          <p:cNvGrpSpPr/>
          <p:nvPr/>
        </p:nvGrpSpPr>
        <p:grpSpPr>
          <a:xfrm>
            <a:off x="9452933" y="1218878"/>
            <a:ext cx="501515" cy="1254265"/>
            <a:chOff x="8290713" y="1759987"/>
            <a:chExt cx="501515" cy="1250887"/>
          </a:xfrm>
        </p:grpSpPr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EF37563C-7EBE-4F25-BEB6-D430463D6421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3010874"/>
              <a:ext cx="496800" cy="0"/>
            </a:xfrm>
            <a:prstGeom prst="line">
              <a:avLst/>
            </a:prstGeom>
            <a:ln w="50800" cmpd="sng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C8167A6-4279-4A9B-B47B-88A5FD918BA6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2348462"/>
              <a:ext cx="496800" cy="0"/>
            </a:xfrm>
            <a:prstGeom prst="line">
              <a:avLst/>
            </a:prstGeom>
            <a:ln w="50800" cmpd="sng">
              <a:solidFill>
                <a:srgbClr val="517BC8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FAA41837-EA61-4D95-BFBF-CF1F1DFE6706}"/>
                </a:ext>
              </a:extLst>
            </p:cNvPr>
            <p:cNvCxnSpPr>
              <a:cxnSpLocks/>
            </p:cNvCxnSpPr>
            <p:nvPr/>
          </p:nvCxnSpPr>
          <p:spPr>
            <a:xfrm>
              <a:off x="8295428" y="1759987"/>
              <a:ext cx="496800" cy="0"/>
            </a:xfrm>
            <a:prstGeom prst="line">
              <a:avLst/>
            </a:prstGeom>
            <a:ln w="50800" cmpd="sng">
              <a:solidFill>
                <a:srgbClr val="C41111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9477340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– ZP celkem 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535052" y="584090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ZP celkem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260402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007B7F61-2FDD-429A-A54E-2F0F9482D1BE}"/>
              </a:ext>
            </a:extLst>
          </p:cNvPr>
          <p:cNvSpPr txBox="1"/>
          <p:nvPr/>
        </p:nvSpPr>
        <p:spPr>
          <a:xfrm>
            <a:off x="262533" y="5104359"/>
            <a:ext cx="1176521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významně klesá, což je mimo jiné i důsledek nastupujícího šíření varianty Omikron. Avšak posilující dávka vrátila ochranu proti nákaze zpět nad hodnotu &gt; 85%. V lednu pozorujeme pokles ochrany proti nákaze i u posilujících dávek (k cca 50%), zejména u ZP, kteří ji měli aplikovanou před více než  4 měsíci. Zdravotničtí pracovníci jsou v tomto ohledu velmi důležitý model,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4" name="Table 5">
            <a:extLst>
              <a:ext uri="{FF2B5EF4-FFF2-40B4-BE49-F238E27FC236}">
                <a16:creationId xmlns:a16="http://schemas.microsoft.com/office/drawing/2014/main" id="{EE7F0968-1D74-454A-B8F1-2CA82A377390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74256" y="597598"/>
          <a:ext cx="11145281" cy="4377040"/>
        </p:xfrm>
        <a:graphic>
          <a:graphicData uri="http://schemas.openxmlformats.org/drawingml/2006/table">
            <a:tbl>
              <a:tblPr/>
              <a:tblGrid>
                <a:gridCol w="1560945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5200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1791855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1838036">
                  <a:extLst>
                    <a:ext uri="{9D8B030D-6E8A-4147-A177-3AD203B41FA5}">
                      <a16:colId xmlns:a16="http://schemas.microsoft.com/office/drawing/2014/main" val="205287478"/>
                    </a:ext>
                  </a:extLst>
                </a:gridCol>
                <a:gridCol w="1930400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  <a:gridCol w="1788845">
                  <a:extLst>
                    <a:ext uri="{9D8B030D-6E8A-4147-A177-3AD203B41FA5}">
                      <a16:colId xmlns:a16="http://schemas.microsoft.com/office/drawing/2014/main" val="366910284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Z posilující dávk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 posilující dávk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BEZ posilující dávky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S posilující dávkou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5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0.6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9.0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9917005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2.1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78488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3.8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2901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-Říj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4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7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2.6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2.7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52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5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5.0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2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04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5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4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1.5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5.2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d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6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4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0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3.3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0.4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5" name="TextBox 6">
            <a:extLst>
              <a:ext uri="{FF2B5EF4-FFF2-40B4-BE49-F238E27FC236}">
                <a16:creationId xmlns:a16="http://schemas.microsoft.com/office/drawing/2014/main" id="{3EDE584E-BB60-4C91-9FF4-DB13B13336B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08002" y="830311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22. 1. 2022</a:t>
            </a:r>
          </a:p>
        </p:txBody>
      </p:sp>
    </p:spTree>
    <p:extLst>
      <p:ext uri="{BB962C8B-B14F-4D97-AF65-F5344CB8AC3E}">
        <p14:creationId xmlns:p14="http://schemas.microsoft.com/office/powerpoint/2010/main" val="130525347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97398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říloha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pracovníků sociálních služeb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přímé hlášení od poskytovatelů)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538267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nově COVID-19 pozitivních pracovníků </a:t>
            </a:r>
            <a:br>
              <a:rPr lang="cs-CZ" dirty="0"/>
            </a:br>
            <a:r>
              <a:rPr lang="cs-CZ" dirty="0"/>
              <a:t>v zařízeních sociálních služeb</a:t>
            </a:r>
          </a:p>
        </p:txBody>
      </p:sp>
      <p:graphicFrame>
        <p:nvGraphicFramePr>
          <p:cNvPr id="7" name="Chart 31">
            <a:extLst>
              <a:ext uri="{FF2B5EF4-FFF2-40B4-BE49-F238E27FC236}">
                <a16:creationId xmlns:a16="http://schemas.microsoft.com/office/drawing/2014/main" id="{1A0DC1DF-8CED-49FC-A4A5-065F1A64BD52}"/>
              </a:ext>
            </a:extLst>
          </p:cNvPr>
          <p:cNvGraphicFramePr/>
          <p:nvPr/>
        </p:nvGraphicFramePr>
        <p:xfrm>
          <a:off x="407350" y="1059679"/>
          <a:ext cx="8523006" cy="5486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2">
            <a:extLst>
              <a:ext uri="{FF2B5EF4-FFF2-40B4-BE49-F238E27FC236}">
                <a16:creationId xmlns:a16="http://schemas.microsoft.com/office/drawing/2014/main" id="{FDDA473E-2198-4E37-8DAB-7936176EB801}"/>
              </a:ext>
            </a:extLst>
          </p:cNvPr>
          <p:cNvSpPr txBox="1"/>
          <p:nvPr/>
        </p:nvSpPr>
        <p:spPr>
          <a:xfrm rot="16200000">
            <a:off x="-941446" y="3165866"/>
            <a:ext cx="25875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B270C58A-BB49-4257-8406-1CEB47E406EE}"/>
              </a:ext>
            </a:extLst>
          </p:cNvPr>
          <p:cNvGraphicFramePr>
            <a:graphicFrameLocks noGrp="1"/>
          </p:cNvGraphicFramePr>
          <p:nvPr/>
        </p:nvGraphicFramePr>
        <p:xfrm>
          <a:off x="9060412" y="1207371"/>
          <a:ext cx="2763052" cy="5050096"/>
        </p:xfrm>
        <a:graphic>
          <a:graphicData uri="http://schemas.openxmlformats.org/drawingml/2006/table">
            <a:tbl>
              <a:tblPr/>
              <a:tblGrid>
                <a:gridCol w="1675629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08742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2037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 posledních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enní klouzavý průmě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011470"/>
                  </a:ext>
                </a:extLst>
              </a:tr>
            </a:tbl>
          </a:graphicData>
        </a:graphic>
      </p:graphicFrame>
      <p:sp>
        <p:nvSpPr>
          <p:cNvPr id="9" name="Obdélník 4">
            <a:extLst>
              <a:ext uri="{FF2B5EF4-FFF2-40B4-BE49-F238E27FC236}">
                <a16:creationId xmlns:a16="http://schemas.microsoft.com/office/drawing/2014/main" id="{81867BFA-1453-40BE-A29B-836824A9B5EE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ých COVID-19 pozitivních (incidence)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21. 1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4">
            <a:extLst>
              <a:ext uri="{FF2B5EF4-FFF2-40B4-BE49-F238E27FC236}">
                <a16:creationId xmlns:a16="http://schemas.microsoft.com/office/drawing/2014/main" id="{FC15B3FD-8931-45F3-B9FA-489831BF4CD0}"/>
              </a:ext>
            </a:extLst>
          </p:cNvPr>
          <p:cNvCxnSpPr/>
          <p:nvPr/>
        </p:nvCxnSpPr>
        <p:spPr>
          <a:xfrm>
            <a:off x="1075769" y="1393737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">
            <a:extLst>
              <a:ext uri="{FF2B5EF4-FFF2-40B4-BE49-F238E27FC236}">
                <a16:creationId xmlns:a16="http://schemas.microsoft.com/office/drawing/2014/main" id="{98F82CC0-F179-44D1-AED9-4C8CAA8FCD8F}"/>
              </a:ext>
            </a:extLst>
          </p:cNvPr>
          <p:cNvSpPr txBox="1"/>
          <p:nvPr/>
        </p:nvSpPr>
        <p:spPr>
          <a:xfrm>
            <a:off x="1438027" y="1224463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21888767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827676BE-FED5-4891-A49E-5B33074F0EA5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1407510" y="1169485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7802892" cy="576000"/>
          </a:xfrm>
        </p:spPr>
        <p:txBody>
          <a:bodyPr/>
          <a:lstStyle/>
          <a:p>
            <a:r>
              <a:rPr lang="cs-CZ" dirty="0"/>
              <a:t>Počty COVID-19 pozitivních na 100 000 osob v populaci pracovníků v sociálních službách</a:t>
            </a:r>
            <a:r>
              <a:rPr lang="en-US" dirty="0"/>
              <a:t>*</a:t>
            </a:r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856023"/>
            <a:ext cx="1438102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pracovníků v sociálních službách (suma za hodnocený časový úsek)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98FA2216-F217-4BAB-A9D1-49D7EE7FFB73}"/>
              </a:ext>
            </a:extLst>
          </p:cNvPr>
          <p:cNvSpPr txBox="1"/>
          <p:nvPr/>
        </p:nvSpPr>
        <p:spPr>
          <a:xfrm>
            <a:off x="245294" y="6380943"/>
            <a:ext cx="119467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ci v zařízeních, které zadávají informace do sociálního modulu ISIN, což odpovídá asi 8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v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n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l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452296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zdravotničtí pracovníci </a:t>
            </a:r>
            <a:r>
              <a:rPr lang="cs-CZ" u="sng" dirty="0"/>
              <a:t>celkem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C428FC5-EA14-48AE-B731-D5EA9FEB98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2553881"/>
              </p:ext>
            </p:extLst>
          </p:nvPr>
        </p:nvGraphicFramePr>
        <p:xfrm>
          <a:off x="356585" y="139093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Celkový počet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7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3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 5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3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 3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 9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65 6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4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7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1. 1. 2022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C6F37292-6D98-4BA4-B894-BD354102F974}"/>
              </a:ext>
            </a:extLst>
          </p:cNvPr>
          <p:cNvSpPr/>
          <p:nvPr/>
        </p:nvSpPr>
        <p:spPr>
          <a:xfrm>
            <a:off x="330707" y="5686170"/>
            <a:ext cx="114541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</a:t>
            </a:r>
            <a:r>
              <a:rPr lang="cs-CZ" sz="1100" dirty="0">
                <a:solidFill>
                  <a:srgbClr val="000000"/>
                </a:solidFill>
              </a:rPr>
              <a:t>evidovaných v NZIS (Národní registr zdravotnických pracovníků – NRZP)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55987" y="618549"/>
            <a:ext cx="116978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Tabulka tedy nereflektuje, zda daný ZP skutečně vykonává zdravotnické povolání v ČR. Zahrnuti jsou i ZP v seniorním, důchodovém, věku.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60C7B47A-DD4D-4AD1-9492-34EAE5D35895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3699004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1. 1. 2022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4819666"/>
              </p:ext>
            </p:extLst>
          </p:nvPr>
        </p:nvGraphicFramePr>
        <p:xfrm>
          <a:off x="356585" y="1390934"/>
          <a:ext cx="11273439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77273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64698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0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2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4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9 3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3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0782301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1800" dirty="0"/>
              <a:t>Očkování zdravotnických pracovníků – počty očkovaných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049215" y="2820163"/>
            <a:ext cx="46818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očkovaných (alespoň první dávka)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4998247"/>
              </p:ext>
            </p:extLst>
          </p:nvPr>
        </p:nvGraphicFramePr>
        <p:xfrm>
          <a:off x="561974" y="759913"/>
          <a:ext cx="11377929" cy="4988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5664546"/>
              </p:ext>
            </p:extLst>
          </p:nvPr>
        </p:nvGraphicFramePr>
        <p:xfrm>
          <a:off x="10344150" y="2181222"/>
          <a:ext cx="1595753" cy="2352680"/>
        </p:xfrm>
        <a:graphic>
          <a:graphicData uri="http://schemas.openxmlformats.org/drawingml/2006/table">
            <a:tbl>
              <a:tblPr/>
              <a:tblGrid>
                <a:gridCol w="994535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601218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P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4 6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664348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st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3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 Z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 9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ékař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3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25C2658B-5F4D-4E25-809A-B07FC20B8E8A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0397ABA-C686-444D-9A37-CA5AF71FAD64}"/>
              </a:ext>
            </a:extLst>
          </p:cNvPr>
          <p:cNvSpPr txBox="1"/>
          <p:nvPr/>
        </p:nvSpPr>
        <p:spPr>
          <a:xfrm>
            <a:off x="257785" y="5774033"/>
            <a:ext cx="1180086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hrnuty jsou zdravotničtí pracovníci (ZP) podle hlášení povinných subjektů do NRZP (vzdělávací instituce, poskytovatelé). Celkový počet ZP zahrnuje osoby s odpovídající odbornou způsobilostí pro výkony povolání ZP* žijící k danému datu. Výstup nezohledňuje, zda daný ZP skutečně vykonává dané povolání v ČR. Zahrnuti jsou i ZP v seniorním, důchodovém, věku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</p:txBody>
      </p:sp>
    </p:spTree>
    <p:extLst>
      <p:ext uri="{BB962C8B-B14F-4D97-AF65-F5344CB8AC3E}">
        <p14:creationId xmlns:p14="http://schemas.microsoft.com/office/powerpoint/2010/main" val="5633389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posilující dávkou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FC5F43CD-61A6-4942-B1EB-1AFAC38D4C4A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1. 1. 2022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05F5D353-1230-45A8-9016-8A9D8618F6E5}"/>
              </a:ext>
            </a:extLst>
          </p:cNvPr>
          <p:cNvSpPr/>
          <p:nvPr/>
        </p:nvSpPr>
        <p:spPr>
          <a:xfrm>
            <a:off x="252076" y="600164"/>
            <a:ext cx="35317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ktivní zdravotničtí pracovníci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42B2FDB-F20E-40AA-ADF4-05FC4E7F4BF6}"/>
              </a:ext>
            </a:extLst>
          </p:cNvPr>
          <p:cNvSpPr txBox="1"/>
          <p:nvPr/>
        </p:nvSpPr>
        <p:spPr>
          <a:xfrm>
            <a:off x="252076" y="6023223"/>
            <a:ext cx="1156130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dravotnických pracovníků (ZP) dle hlášení povinných subjektů do Národního registru zdravotnických pracovníků – NRZP (vzdělávací instituce, poskytovatelé). Celkový počet ZP zahrnuje osoby s odpovídající odbornou způsobilostí pro výkony ZP a žijící k danému datu. V této analýze jsou zahrnuti ZP, u kterých poskytovatelé zdravotních služeb nahlásili jejich aktivní výkon zaměstnání 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období od 1.9.2021 do současnosti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v ambulantním sektoru mohou být tyto počty mírně nedohlášené). 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07918BD6-47A7-4629-B00F-7C350B485540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0106F417-40A8-41A4-A3D6-B22D419501BE}"/>
              </a:ext>
            </a:extLst>
          </p:cNvPr>
          <p:cNvSpPr/>
          <p:nvPr/>
        </p:nvSpPr>
        <p:spPr>
          <a:xfrm>
            <a:off x="252076" y="5668681"/>
            <a:ext cx="915827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Přeočkování posilující dávkou je možné pro osoby, které mají nejméně 6 měsíců (v této analýze 182 dnů) po aplikaci ukončovací (druhé) dávk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Jeden zdravotnický pracovník může působit ve více krajích, do celkového počtu je zahrnut pouze jednou. </a:t>
            </a:r>
          </a:p>
        </p:txBody>
      </p:sp>
      <p:graphicFrame>
        <p:nvGraphicFramePr>
          <p:cNvPr id="10" name="Table 2">
            <a:extLst>
              <a:ext uri="{FF2B5EF4-FFF2-40B4-BE49-F238E27FC236}">
                <a16:creationId xmlns:a16="http://schemas.microsoft.com/office/drawing/2014/main" id="{300A08B3-B18A-4DE9-97BC-1912730507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2127221"/>
              </p:ext>
            </p:extLst>
          </p:nvPr>
        </p:nvGraphicFramePr>
        <p:xfrm>
          <a:off x="315344" y="958340"/>
          <a:ext cx="11561311" cy="4698672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744287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216406433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10018221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759659700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767492860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82608376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773291409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497186403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41392143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843981191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182885545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067111112"/>
                    </a:ext>
                  </a:extLst>
                </a:gridCol>
              </a:tblGrid>
              <a:tr h="61364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dravotničtí pracovníci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ékař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včetně zubních lékařů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stry</a:t>
                      </a:r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tatní zdravotničtí pracovníci </a:t>
                      </a:r>
                    </a:p>
                    <a:p>
                      <a:pPr algn="ctr" fontAlgn="ctr"/>
                      <a:r>
                        <a:rPr lang="cs-CZ" sz="10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NLZP § 7 až § 42 kromě § 21b, farmaceuti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3287447"/>
                  </a:ext>
                </a:extLst>
              </a:tr>
              <a:tr h="60099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podle místa působení*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Hlavní město Prah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2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7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1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4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Střed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3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5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Jihoče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Plzeň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arlovar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Ústec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3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Liber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álovéhrad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ardubi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aj Vysočin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morav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9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3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Olomou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Zlín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2335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effectLst/>
                        </a:rPr>
                        <a:t>Moravskoslez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3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22116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0 4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 7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6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5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 6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 1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 1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0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2678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1. 1. 2022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36579048-BB0C-4A41-91BF-EE6AEF0D25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4739750"/>
              </p:ext>
            </p:extLst>
          </p:nvPr>
        </p:nvGraphicFramePr>
        <p:xfrm>
          <a:off x="337535" y="1200434"/>
          <a:ext cx="11516932" cy="4496159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910490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104900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85343374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89722905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4290228433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5169759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50319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dirty="0"/>
                        <a:t>Zdravotničtí pracovníci evidovaní v NZIS podle pracovních pozic*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effectLst/>
                        </a:rPr>
                        <a:t>Počet zdravotnických pracovníků**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čkovaní celkem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posilují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ukončova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ouze s 1.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rodělali onemocně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stat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včetně zubních lékařů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082 (88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546 (71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87 (15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9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6 (2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35 (9,2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5101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257 (83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 177 (57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049 (25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1 (1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05 (7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34 (8,5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4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000 (81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030 (51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117 (28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3 (0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86 (8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02 (10,8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31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98 (79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41 (52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09 (26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 (1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1 (7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5 (12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62 (80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85 (49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6 (29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(1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8 (9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3 (9,9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58 (82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398 (51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95 (29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5 (1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8 (8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70 (9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41 (86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57 (62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9 (22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(1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6 (5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5 (7,8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94 (76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65 (47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58 (28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 (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6 (10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77 (13,7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462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26 (82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46 (53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71 (28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 (0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1 (7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15 (9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274 (81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92 (52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11 (28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1 (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7 (7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56 (11,1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CELKEM**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9 339 (83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5 753 (58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1 453 (24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 133 (0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 967 (6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 771 (9,5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67815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1. 1. 2022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57D8B5EC-D4C4-4142-B9B3-D668437D75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44591923"/>
              </p:ext>
            </p:extLst>
          </p:nvPr>
        </p:nvGraphicFramePr>
        <p:xfrm>
          <a:off x="847725" y="981075"/>
          <a:ext cx="10696575" cy="4924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5E273B3-595D-4506-8111-3C0DC2F8EF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4371985"/>
              </p:ext>
            </p:extLst>
          </p:nvPr>
        </p:nvGraphicFramePr>
        <p:xfrm>
          <a:off x="11229975" y="1724026"/>
          <a:ext cx="824515" cy="3975389"/>
        </p:xfrm>
        <a:graphic>
          <a:graphicData uri="http://schemas.openxmlformats.org/drawingml/2006/table">
            <a:tbl>
              <a:tblPr firstRow="1" lastRow="1" bandRow="1"/>
              <a:tblGrid>
                <a:gridCol w="824515">
                  <a:extLst>
                    <a:ext uri="{9D8B030D-6E8A-4147-A177-3AD203B41FA5}">
                      <a16:colId xmlns:a16="http://schemas.microsoft.com/office/drawing/2014/main" val="2631467471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2 2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05623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05 2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574389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2 4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582854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2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18676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 6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715713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 8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06593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 5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8268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2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28598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6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71299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1 2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167027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0 0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601955"/>
                  </a:ext>
                </a:extLst>
              </a:tr>
            </a:tbl>
          </a:graphicData>
        </a:graphic>
      </p:graphicFrame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4AA833D1-7B4A-4D1C-A2B1-06653D5E7670}"/>
              </a:ext>
            </a:extLst>
          </p:cNvPr>
          <p:cNvGraphicFramePr>
            <a:graphicFrameLocks noGrp="1"/>
          </p:cNvGraphicFramePr>
          <p:nvPr/>
        </p:nvGraphicFramePr>
        <p:xfrm>
          <a:off x="257786" y="1724025"/>
          <a:ext cx="2342539" cy="39753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42539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včetně zubních lékařů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54710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abf0963433422b508f803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607</TotalTime>
  <Words>9623</Words>
  <Application>Microsoft Office PowerPoint</Application>
  <PresentationFormat>Širokoúhlá obrazovka</PresentationFormat>
  <Paragraphs>2114</Paragraphs>
  <Slides>38</Slides>
  <Notes>27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4</vt:i4>
      </vt:variant>
      <vt:variant>
        <vt:lpstr>Nadpisy snímků</vt:lpstr>
      </vt:variant>
      <vt:variant>
        <vt:i4>38</vt:i4>
      </vt:variant>
    </vt:vector>
  </HeadingPairs>
  <TitlesOfParts>
    <vt:vector size="45" baseType="lpstr">
      <vt:lpstr>Arial</vt:lpstr>
      <vt:lpstr>Calibri Light</vt:lpstr>
      <vt:lpstr>Calibri</vt:lpstr>
      <vt:lpstr>Motiv Office</vt:lpstr>
      <vt:lpstr>3_Motiv Office</vt:lpstr>
      <vt:lpstr>1_Motiv Office</vt:lpstr>
      <vt:lpstr>2_Motiv Office</vt:lpstr>
      <vt:lpstr>Prezentace aplikace PowerPoint</vt:lpstr>
      <vt:lpstr>Prezentace aplikace PowerPoint</vt:lpstr>
      <vt:lpstr>Očkování zdravotnických pracovníků </vt:lpstr>
      <vt:lpstr>Očkovaní zdravotničtí pracovníci celkem</vt:lpstr>
      <vt:lpstr>Očkovaní aktivní zdravotničtí pracovníci</vt:lpstr>
      <vt:lpstr>Očkování zdravotnických pracovníků – počty očkovaných v čase</vt:lpstr>
      <vt:lpstr>Vakcinace posilující dávkou</vt:lpstr>
      <vt:lpstr>Očkovaní aktivní zdravotničtí pracovníci</vt:lpstr>
      <vt:lpstr>Očkovaní aktivní zdravotničtí pracovníci</vt:lpstr>
      <vt:lpstr>Očkování zdravotnických pracovníků </vt:lpstr>
      <vt:lpstr>Očkovaní zdravotníci v nemocnicích akutní lůžkové péče a ZZS</vt:lpstr>
      <vt:lpstr>Očkování zdravotnických pracovníků </vt:lpstr>
      <vt:lpstr>Přehled povolání u COVID-19 pozitivních ostatních zdravotnických pracovníků za období 01/2021 – 01/2022</vt:lpstr>
      <vt:lpstr>Přehled povolání u COVID-19 pozitivních ostatních zdravotnických pracovníků za období 10/2021 – 01/2022</vt:lpstr>
      <vt:lpstr>Přehled povolání u COVID-19 pozitivních ostatních zdravotnických pracovníků za období 01/2022</vt:lpstr>
      <vt:lpstr>Očkovaní aktivní zdravotničtí pracovníci</vt:lpstr>
      <vt:lpstr>Očkovaní NLZP v nemocnicích akutní lůžkové péče a ZZS</vt:lpstr>
      <vt:lpstr>Očkovaní lékaři* podle typu zdravotnického zařízení</vt:lpstr>
      <vt:lpstr>Očkované sestry* podle typu zdravotnického zařízení</vt:lpstr>
      <vt:lpstr>Očkovaní ostatní ZP* podle typu zdravotnického zařízení</vt:lpstr>
      <vt:lpstr>Prezentace aplikace PowerPoint</vt:lpstr>
      <vt:lpstr>Počty pracovníků ve zdravotnictví s nákazou COVID-19</vt:lpstr>
      <vt:lpstr>Počty pracovníků ve zdravotnictví s nákazou COVID-19</vt:lpstr>
      <vt:lpstr>Prezentace aplikace PowerPoint</vt:lpstr>
      <vt:lpstr>Počty COVID-19 pozitivních na 100 000 osob v populaci lékařů</vt:lpstr>
      <vt:lpstr>Prezentace aplikace PowerPoint</vt:lpstr>
      <vt:lpstr>Počty COVID-19 pozitivních na 100 000 osob v populaci sester</vt:lpstr>
      <vt:lpstr>Prezentace aplikace PowerPoint</vt:lpstr>
      <vt:lpstr>Počty COVID-19 pozitivních na 100 000 osob v populaci ostatních ZP</vt:lpstr>
      <vt:lpstr>Prezentace aplikace PowerPoint</vt:lpstr>
      <vt:lpstr>Počty pracovníků ve zdravotnictví s nákazou COVID-19</vt:lpstr>
      <vt:lpstr>Počty pracovníků ve zdravotnictví (ZP) s nákazou COVID-19</vt:lpstr>
      <vt:lpstr>Prezentace aplikace PowerPoint</vt:lpstr>
      <vt:lpstr>Počet nových případů COVID-19 na 100 tis. dané kategorie v populaci ZP celkem </vt:lpstr>
      <vt:lpstr>Prezentace aplikace PowerPoint</vt:lpstr>
      <vt:lpstr>Prezentace aplikace PowerPoint</vt:lpstr>
      <vt:lpstr>Počty nově COVID-19 pozitivních pracovníků  v zařízeních sociálních služeb</vt:lpstr>
      <vt:lpstr>Počty COVID-19 pozitivních na 100 000 osob v populaci pracovníků v sociálních službách*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845</cp:revision>
  <dcterms:created xsi:type="dcterms:W3CDTF">2020-11-11T17:36:28Z</dcterms:created>
  <dcterms:modified xsi:type="dcterms:W3CDTF">2022-01-23T14:32:23Z</dcterms:modified>
</cp:coreProperties>
</file>